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4"/>
  </p:notesMasterIdLst>
  <p:sldIdLst>
    <p:sldId id="267" r:id="rId2"/>
    <p:sldId id="268" r:id="rId3"/>
  </p:sldIdLst>
  <p:sldSz cx="13970000" cy="10795000"/>
  <p:notesSz cx="7010400" cy="9296400"/>
  <p:custDataLst>
    <p:tags r:id="rId5"/>
  </p:custDataLst>
  <p:defaultTextStyle>
    <a:lvl1pPr algn="ctr" defTabSz="584200">
      <a:defRPr sz="3800">
        <a:latin typeface="+mn-lt"/>
        <a:ea typeface="+mn-ea"/>
        <a:cs typeface="+mn-cs"/>
        <a:sym typeface="Helvetica Light"/>
      </a:defRPr>
    </a:lvl1pPr>
    <a:lvl2pPr indent="228600" algn="ctr" defTabSz="584200">
      <a:defRPr sz="3800">
        <a:latin typeface="+mn-lt"/>
        <a:ea typeface="+mn-ea"/>
        <a:cs typeface="+mn-cs"/>
        <a:sym typeface="Helvetica Light"/>
      </a:defRPr>
    </a:lvl2pPr>
    <a:lvl3pPr indent="457200" algn="ctr" defTabSz="584200">
      <a:defRPr sz="3800">
        <a:latin typeface="+mn-lt"/>
        <a:ea typeface="+mn-ea"/>
        <a:cs typeface="+mn-cs"/>
        <a:sym typeface="Helvetica Light"/>
      </a:defRPr>
    </a:lvl3pPr>
    <a:lvl4pPr indent="685800" algn="ctr" defTabSz="584200">
      <a:defRPr sz="3800">
        <a:latin typeface="+mn-lt"/>
        <a:ea typeface="+mn-ea"/>
        <a:cs typeface="+mn-cs"/>
        <a:sym typeface="Helvetica Light"/>
      </a:defRPr>
    </a:lvl4pPr>
    <a:lvl5pPr indent="914400" algn="ctr" defTabSz="584200">
      <a:defRPr sz="3800">
        <a:latin typeface="+mn-lt"/>
        <a:ea typeface="+mn-ea"/>
        <a:cs typeface="+mn-cs"/>
        <a:sym typeface="Helvetica Light"/>
      </a:defRPr>
    </a:lvl5pPr>
    <a:lvl6pPr indent="1143000" algn="ctr" defTabSz="584200">
      <a:defRPr sz="3800">
        <a:latin typeface="+mn-lt"/>
        <a:ea typeface="+mn-ea"/>
        <a:cs typeface="+mn-cs"/>
        <a:sym typeface="Helvetica Light"/>
      </a:defRPr>
    </a:lvl6pPr>
    <a:lvl7pPr indent="1371600" algn="ctr" defTabSz="584200">
      <a:defRPr sz="3800">
        <a:latin typeface="+mn-lt"/>
        <a:ea typeface="+mn-ea"/>
        <a:cs typeface="+mn-cs"/>
        <a:sym typeface="Helvetica Light"/>
      </a:defRPr>
    </a:lvl7pPr>
    <a:lvl8pPr indent="1600200" algn="ctr" defTabSz="584200">
      <a:defRPr sz="3800">
        <a:latin typeface="+mn-lt"/>
        <a:ea typeface="+mn-ea"/>
        <a:cs typeface="+mn-cs"/>
        <a:sym typeface="Helvetica Light"/>
      </a:defRPr>
    </a:lvl8pPr>
    <a:lvl9pPr indent="1828800" algn="ctr" defTabSz="584200">
      <a:defRPr sz="3800">
        <a:latin typeface="+mn-lt"/>
        <a:ea typeface="+mn-ea"/>
        <a:cs typeface="+mn-cs"/>
        <a:sym typeface="Helvetica Light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D4BA8"/>
    <a:srgbClr val="555454"/>
    <a:srgbClr val="DDADD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wholeTbl>
    <a:band2H>
      <a:tcTxStyle/>
      <a:tcStyle>
        <a:tcBdr/>
        <a:fill>
          <a:solidFill>
            <a:srgbClr val="E3E5E8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398CCE"/>
          </a:solidFill>
        </a:fill>
      </a:tcStyle>
    </a:firstCol>
    <a:lastRow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solidFill>
                <a:srgbClr val="3797C6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0365C0"/>
          </a:solidFill>
        </a:fill>
      </a:tcStyle>
    </a:firstRow>
  </a:tblStyle>
  <a:tblStyle styleId="{C7B018BB-80A7-4F77-B60F-C8B233D01FF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B8B8B8"/>
              </a:solidFill>
              <a:prstDash val="solid"/>
              <a:miter lim="400000"/>
            </a:ln>
          </a:left>
          <a:right>
            <a:ln w="12700" cap="flat">
              <a:solidFill>
                <a:srgbClr val="B8B8B8"/>
              </a:solidFill>
              <a:prstDash val="solid"/>
              <a:miter lim="400000"/>
            </a:ln>
          </a:right>
          <a:top>
            <a:ln w="12700" cap="flat">
              <a:solidFill>
                <a:srgbClr val="B8B8B8"/>
              </a:solidFill>
              <a:prstDash val="solid"/>
              <a:miter lim="400000"/>
            </a:ln>
          </a:top>
          <a:bottom>
            <a:ln w="12700" cap="flat">
              <a:solidFill>
                <a:srgbClr val="B8B8B8"/>
              </a:solidFill>
              <a:prstDash val="solid"/>
              <a:miter lim="400000"/>
            </a:ln>
          </a:bottom>
          <a:insideH>
            <a:ln w="12700" cap="flat">
              <a:solidFill>
                <a:srgbClr val="B8B8B8"/>
              </a:solidFill>
              <a:prstDash val="solid"/>
              <a:miter lim="400000"/>
            </a:ln>
          </a:insideH>
          <a:insideV>
            <a:ln w="12700" cap="flat">
              <a:solidFill>
                <a:srgbClr val="B8B8B8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wholeTbl>
    <a:band2H>
      <a:tcTxStyle/>
      <a:tcStyle>
        <a:tcBdr/>
        <a:fill>
          <a:solidFill>
            <a:srgbClr val="E1E0DA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606060"/>
              </a:solidFill>
              <a:prstDash val="solid"/>
              <a:miter lim="400000"/>
            </a:ln>
          </a:left>
          <a:right>
            <a:ln w="12700" cap="flat">
              <a:solidFill>
                <a:srgbClr val="606060"/>
              </a:solidFill>
              <a:prstDash val="solid"/>
              <a:miter lim="400000"/>
            </a:ln>
          </a:right>
          <a:top>
            <a:ln w="127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606060"/>
              </a:solidFill>
              <a:prstDash val="solid"/>
              <a:miter lim="400000"/>
            </a:ln>
          </a:insideH>
          <a:insideV>
            <a:ln w="12700" cap="flat">
              <a:solidFill>
                <a:srgbClr val="606060"/>
              </a:solidFill>
              <a:prstDash val="solid"/>
              <a:miter lim="400000"/>
            </a:ln>
          </a:insideV>
        </a:tcBdr>
        <a:fill>
          <a:solidFill>
            <a:srgbClr val="5AC831"/>
          </a:solidFill>
        </a:fill>
      </a:tcStyle>
    </a:firstCol>
    <a:lastRow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B8B8B8"/>
              </a:solidFill>
              <a:prstDash val="solid"/>
              <a:miter lim="400000"/>
            </a:ln>
          </a:left>
          <a:right>
            <a:ln w="12700" cap="flat">
              <a:solidFill>
                <a:srgbClr val="B8B8B8"/>
              </a:solidFill>
              <a:prstDash val="solid"/>
              <a:miter lim="400000"/>
            </a:ln>
          </a:right>
          <a:top>
            <a:ln w="254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B8B8B8"/>
              </a:solidFill>
              <a:prstDash val="solid"/>
              <a:miter lim="400000"/>
            </a:ln>
          </a:insideH>
          <a:insideV>
            <a:ln w="12700" cap="flat">
              <a:solidFill>
                <a:srgbClr val="B8B8B8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606060"/>
              </a:solidFill>
              <a:prstDash val="solid"/>
              <a:miter lim="400000"/>
            </a:ln>
          </a:left>
          <a:right>
            <a:ln w="12700" cap="flat">
              <a:solidFill>
                <a:srgbClr val="606060"/>
              </a:solidFill>
              <a:prstDash val="solid"/>
              <a:miter lim="400000"/>
            </a:ln>
          </a:right>
          <a:top>
            <a:ln w="127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606060"/>
              </a:solidFill>
              <a:prstDash val="solid"/>
              <a:miter lim="400000"/>
            </a:ln>
          </a:insideH>
          <a:insideV>
            <a:ln w="12700" cap="flat">
              <a:solidFill>
                <a:srgbClr val="606060"/>
              </a:solidFill>
              <a:prstDash val="solid"/>
              <a:miter lim="400000"/>
            </a:ln>
          </a:insideV>
        </a:tcBdr>
        <a:fill>
          <a:solidFill>
            <a:srgbClr val="00882B"/>
          </a:solidFill>
        </a:fill>
      </a:tcStyle>
    </a:firstRow>
  </a:tblStyle>
  <a:tblStyle styleId="{EEE7283C-3CF3-47DC-8721-378D4A62B22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insideV>
        </a:tcBdr>
        <a:fill>
          <a:solidFill>
            <a:srgbClr val="E6E3D7"/>
          </a:solidFill>
        </a:fill>
      </a:tcStyle>
    </a:wholeTbl>
    <a:band2H>
      <a:tcTxStyle/>
      <a:tcStyle>
        <a:tcBdr/>
        <a:fill>
          <a:solidFill>
            <a:srgbClr val="C3C2C2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909C99"/>
          </a:solidFill>
        </a:fill>
      </a:tcStyle>
    </a:firstCol>
    <a:la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97764E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97764E"/>
          </a:solidFill>
        </a:fill>
      </a:tcStyle>
    </a:firstRow>
  </a:tblStyle>
  <a:tblStyle styleId="{CF821DB8-F4EB-4A41-A1BA-3FCAFE7338EE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wholeTbl>
    <a:band2H>
      <a:tcTxStyle/>
      <a:tcStyle>
        <a:tcBdr/>
        <a:fill>
          <a:solidFill>
            <a:srgbClr val="DCE5E6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5E7790"/>
          </a:solidFill>
        </a:fill>
      </a:tcStyle>
    </a:firstCol>
    <a:la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5E7790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5E7790"/>
          </a:solidFill>
        </a:fill>
      </a:tcStyle>
    </a:firstRow>
  </a:tblStyle>
  <a:tblStyle styleId="{33BA23B1-9221-436E-865A-0063620EA4FD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D0D1D2"/>
          </a:solidFill>
        </a:fill>
      </a:tcStyle>
    </a:wholeTbl>
    <a:band2H>
      <a:tcTxStyle/>
      <a:tcStyle>
        <a:tcBdr/>
        <a:fill>
          <a:solidFill>
            <a:srgbClr val="DEDEDF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535761"/>
          </a:solidFill>
        </a:fill>
      </a:tcStyle>
    </a:firstCol>
    <a:la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909398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767C85"/>
          </a:solidFill>
        </a:fill>
      </a:tcStyle>
    </a:firstRow>
  </a:tblStyle>
  <a:tblStyle styleId="{2708684C-4D16-4618-839F-0558EEFCDFE6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DEEEE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firstCol>
    <a:lastRow>
      <a:tcTxStyle b="on" i="off">
        <a:font>
          <a:latin typeface="Helvetica"/>
          <a:ea typeface="Helvetica"/>
          <a:cs typeface="Helvetica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84E427A-3D55-4303-BF80-6455036E1DE7}" styleName="Designformatvorlage 1 - Akz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C7853C-536D-4A76-A0AE-DD22124D55A5}" styleName="Designformatvorlage 1 - Akz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121" autoAdjust="0"/>
    <p:restoredTop sz="94434" autoAdjust="0"/>
  </p:normalViewPr>
  <p:slideViewPr>
    <p:cSldViewPr snapToGrid="0">
      <p:cViewPr>
        <p:scale>
          <a:sx n="150" d="100"/>
          <a:sy n="150" d="100"/>
        </p:scale>
        <p:origin x="90" y="96"/>
      </p:cViewPr>
      <p:guideLst/>
    </p:cSldViewPr>
  </p:slideViewPr>
  <p:notesTextViewPr>
    <p:cViewPr>
      <p:scale>
        <a:sx n="400" d="100"/>
        <a:sy n="4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notesMaster" Target="notesMasters/notes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Shape 29"/>
          <p:cNvSpPr>
            <a:spLocks noGrp="1" noRot="1" noChangeAspect="1"/>
          </p:cNvSpPr>
          <p:nvPr>
            <p:ph type="sldImg"/>
          </p:nvPr>
        </p:nvSpPr>
        <p:spPr>
          <a:xfrm>
            <a:off x="1249363" y="696913"/>
            <a:ext cx="4511675" cy="3486150"/>
          </a:xfrm>
          <a:prstGeom prst="rect">
            <a:avLst/>
          </a:prstGeom>
        </p:spPr>
        <p:txBody>
          <a:bodyPr lIns="93177" tIns="46589" rIns="93177" bIns="46589"/>
          <a:lstStyle/>
          <a:p>
            <a:pPr lvl="0"/>
            <a:endParaRPr/>
          </a:p>
        </p:txBody>
      </p:sp>
      <p:sp>
        <p:nvSpPr>
          <p:cNvPr id="30" name="Shape 30"/>
          <p:cNvSpPr>
            <a:spLocks noGrp="1"/>
          </p:cNvSpPr>
          <p:nvPr>
            <p:ph type="body" sz="quarter" idx="1"/>
          </p:nvPr>
        </p:nvSpPr>
        <p:spPr>
          <a:xfrm>
            <a:off x="934720" y="4415790"/>
            <a:ext cx="5140960" cy="4183380"/>
          </a:xfrm>
          <a:prstGeom prst="rect">
            <a:avLst/>
          </a:prstGeom>
        </p:spPr>
        <p:txBody>
          <a:bodyPr lIns="93177" tIns="46589" rIns="93177" bIns="46589"/>
          <a:lstStyle/>
          <a:p>
            <a:pPr lvl="0"/>
            <a:endParaRPr/>
          </a:p>
        </p:txBody>
      </p:sp>
    </p:spTree>
    <p:extLst>
      <p:ext uri="{BB962C8B-B14F-4D97-AF65-F5344CB8AC3E}">
        <p14:creationId xmlns:p14="http://schemas.microsoft.com/office/powerpoint/2010/main" val="260440198"/>
      </p:ext>
    </p:extLst>
  </p:cSld>
  <p:clrMap bg1="lt1" tx1="dk1" bg2="lt2" tx2="dk2" accent1="accent1" accent2="accent2" accent3="accent3" accent4="accent4" accent5="accent5" accent6="accent6" hlink="hlink" folHlink="folHlink"/>
  <p:notesStyle>
    <a:lvl1pPr defTabSz="457200">
      <a:lnSpc>
        <a:spcPct val="125000"/>
      </a:lnSpc>
      <a:defRPr sz="2600">
        <a:latin typeface="Avenir Book"/>
        <a:ea typeface="Avenir Book"/>
        <a:cs typeface="Avenir Book"/>
        <a:sym typeface="Avenir Book"/>
      </a:defRPr>
    </a:lvl1pPr>
    <a:lvl2pPr indent="228600" defTabSz="457200">
      <a:lnSpc>
        <a:spcPct val="125000"/>
      </a:lnSpc>
      <a:defRPr sz="2600">
        <a:latin typeface="Avenir Book"/>
        <a:ea typeface="Avenir Book"/>
        <a:cs typeface="Avenir Book"/>
        <a:sym typeface="Avenir Book"/>
      </a:defRPr>
    </a:lvl2pPr>
    <a:lvl3pPr indent="457200" defTabSz="457200">
      <a:lnSpc>
        <a:spcPct val="125000"/>
      </a:lnSpc>
      <a:defRPr sz="2600">
        <a:latin typeface="Avenir Book"/>
        <a:ea typeface="Avenir Book"/>
        <a:cs typeface="Avenir Book"/>
        <a:sym typeface="Avenir Book"/>
      </a:defRPr>
    </a:lvl3pPr>
    <a:lvl4pPr indent="685800" defTabSz="457200">
      <a:lnSpc>
        <a:spcPct val="125000"/>
      </a:lnSpc>
      <a:defRPr sz="2600">
        <a:latin typeface="Avenir Book"/>
        <a:ea typeface="Avenir Book"/>
        <a:cs typeface="Avenir Book"/>
        <a:sym typeface="Avenir Book"/>
      </a:defRPr>
    </a:lvl4pPr>
    <a:lvl5pPr indent="914400" defTabSz="457200">
      <a:lnSpc>
        <a:spcPct val="125000"/>
      </a:lnSpc>
      <a:defRPr sz="2600">
        <a:latin typeface="Avenir Book"/>
        <a:ea typeface="Avenir Book"/>
        <a:cs typeface="Avenir Book"/>
        <a:sym typeface="Avenir Book"/>
      </a:defRPr>
    </a:lvl5pPr>
    <a:lvl6pPr indent="1143000" defTabSz="457200">
      <a:lnSpc>
        <a:spcPct val="125000"/>
      </a:lnSpc>
      <a:defRPr sz="2600">
        <a:latin typeface="Avenir Book"/>
        <a:ea typeface="Avenir Book"/>
        <a:cs typeface="Avenir Book"/>
        <a:sym typeface="Avenir Book"/>
      </a:defRPr>
    </a:lvl6pPr>
    <a:lvl7pPr indent="1371600" defTabSz="457200">
      <a:lnSpc>
        <a:spcPct val="125000"/>
      </a:lnSpc>
      <a:defRPr sz="2600">
        <a:latin typeface="Avenir Book"/>
        <a:ea typeface="Avenir Book"/>
        <a:cs typeface="Avenir Book"/>
        <a:sym typeface="Avenir Book"/>
      </a:defRPr>
    </a:lvl7pPr>
    <a:lvl8pPr indent="1600200" defTabSz="457200">
      <a:lnSpc>
        <a:spcPct val="125000"/>
      </a:lnSpc>
      <a:defRPr sz="2600">
        <a:latin typeface="Avenir Book"/>
        <a:ea typeface="Avenir Book"/>
        <a:cs typeface="Avenir Book"/>
        <a:sym typeface="Avenir Book"/>
      </a:defRPr>
    </a:lvl8pPr>
    <a:lvl9pPr indent="1828800" defTabSz="457200">
      <a:lnSpc>
        <a:spcPct val="125000"/>
      </a:lnSpc>
      <a:defRPr sz="2600">
        <a:latin typeface="Avenir Book"/>
        <a:ea typeface="Avenir Book"/>
        <a:cs typeface="Avenir Book"/>
        <a:sym typeface="Avenir Book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hape 5"/>
          <p:cNvSpPr>
            <a:spLocks noGrp="1"/>
          </p:cNvSpPr>
          <p:nvPr>
            <p:ph type="title"/>
          </p:nvPr>
        </p:nvSpPr>
        <p:spPr>
          <a:xfrm>
            <a:off x="1364257" y="1918642"/>
            <a:ext cx="11241486" cy="3547071"/>
          </a:xfrm>
          <a:prstGeom prst="rect">
            <a:avLst/>
          </a:prstGeom>
        </p:spPr>
        <p:txBody>
          <a:bodyPr anchor="b"/>
          <a:lstStyle/>
          <a:p>
            <a:pPr lvl="0">
              <a:defRPr sz="1800"/>
            </a:pPr>
            <a:r>
              <a:rPr sz="8800"/>
              <a:t>Title Text</a:t>
            </a:r>
          </a:p>
        </p:txBody>
      </p:sp>
      <p:sp>
        <p:nvSpPr>
          <p:cNvPr id="6" name="Shape 6"/>
          <p:cNvSpPr>
            <a:spLocks noGrp="1"/>
          </p:cNvSpPr>
          <p:nvPr>
            <p:ph type="body" idx="1"/>
          </p:nvPr>
        </p:nvSpPr>
        <p:spPr>
          <a:xfrm>
            <a:off x="1364257" y="5561210"/>
            <a:ext cx="11241486" cy="1214191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3400"/>
            </a:lvl1pPr>
            <a:lvl2pPr marL="0" indent="228600" algn="ctr">
              <a:spcBef>
                <a:spcPts val="0"/>
              </a:spcBef>
              <a:buSzTx/>
              <a:buNone/>
              <a:defRPr sz="3400"/>
            </a:lvl2pPr>
            <a:lvl3pPr marL="0" indent="457200" algn="ctr">
              <a:spcBef>
                <a:spcPts val="0"/>
              </a:spcBef>
              <a:buSzTx/>
              <a:buNone/>
              <a:defRPr sz="3400"/>
            </a:lvl3pPr>
            <a:lvl4pPr marL="0" indent="685800" algn="ctr">
              <a:spcBef>
                <a:spcPts val="0"/>
              </a:spcBef>
              <a:buSzTx/>
              <a:buNone/>
              <a:defRPr sz="3400"/>
            </a:lvl4pPr>
            <a:lvl5pPr marL="0" indent="914400" algn="ctr">
              <a:spcBef>
                <a:spcPts val="0"/>
              </a:spcBef>
              <a:buSzTx/>
              <a:buNone/>
              <a:defRPr sz="3400"/>
            </a:lvl5pPr>
          </a:lstStyle>
          <a:p>
            <a:pPr lvl="0">
              <a:defRPr sz="1800"/>
            </a:pPr>
            <a:r>
              <a:rPr sz="3400"/>
              <a:t>Body Level One</a:t>
            </a:r>
          </a:p>
          <a:p>
            <a:pPr lvl="1">
              <a:defRPr sz="1800"/>
            </a:pPr>
            <a:r>
              <a:rPr sz="3400"/>
              <a:t>Body Level Two</a:t>
            </a:r>
          </a:p>
          <a:p>
            <a:pPr lvl="2">
              <a:defRPr sz="1800"/>
            </a:pPr>
            <a:r>
              <a:rPr sz="3400"/>
              <a:t>Body Level Three</a:t>
            </a:r>
          </a:p>
          <a:p>
            <a:pPr lvl="3">
              <a:defRPr sz="1800"/>
            </a:pPr>
            <a:r>
              <a:rPr sz="3400"/>
              <a:t>Body Level Four</a:t>
            </a:r>
          </a:p>
          <a:p>
            <a:pPr lvl="4">
              <a:defRPr sz="1800"/>
            </a:pPr>
            <a:r>
              <a:rPr sz="3400"/>
              <a:t>Body Level Five</a:t>
            </a:r>
          </a:p>
        </p:txBody>
      </p:sp>
    </p:spTree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 -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 8"/>
          <p:cNvSpPr>
            <a:spLocks noGrp="1"/>
          </p:cNvSpPr>
          <p:nvPr>
            <p:ph type="title"/>
          </p:nvPr>
        </p:nvSpPr>
        <p:spPr>
          <a:xfrm>
            <a:off x="1364257" y="7375673"/>
            <a:ext cx="11241486" cy="1527970"/>
          </a:xfrm>
          <a:prstGeom prst="rect">
            <a:avLst/>
          </a:prstGeom>
        </p:spPr>
        <p:txBody>
          <a:bodyPr anchor="b"/>
          <a:lstStyle/>
          <a:p>
            <a:pPr lvl="0">
              <a:defRPr sz="1800"/>
            </a:pPr>
            <a:r>
              <a:rPr sz="8800"/>
              <a:t>Title Text</a:t>
            </a:r>
          </a:p>
        </p:txBody>
      </p:sp>
      <p:sp>
        <p:nvSpPr>
          <p:cNvPr id="9" name="Shape 9"/>
          <p:cNvSpPr>
            <a:spLocks noGrp="1"/>
          </p:cNvSpPr>
          <p:nvPr>
            <p:ph type="body" idx="1"/>
          </p:nvPr>
        </p:nvSpPr>
        <p:spPr>
          <a:xfrm>
            <a:off x="1364257" y="8958212"/>
            <a:ext cx="11241486" cy="1214191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3400"/>
            </a:lvl1pPr>
            <a:lvl2pPr marL="0" indent="228600" algn="ctr">
              <a:spcBef>
                <a:spcPts val="0"/>
              </a:spcBef>
              <a:buSzTx/>
              <a:buNone/>
              <a:defRPr sz="3400"/>
            </a:lvl2pPr>
            <a:lvl3pPr marL="0" indent="457200" algn="ctr">
              <a:spcBef>
                <a:spcPts val="0"/>
              </a:spcBef>
              <a:buSzTx/>
              <a:buNone/>
              <a:defRPr sz="3400"/>
            </a:lvl3pPr>
            <a:lvl4pPr marL="0" indent="685800" algn="ctr">
              <a:spcBef>
                <a:spcPts val="0"/>
              </a:spcBef>
              <a:buSzTx/>
              <a:buNone/>
              <a:defRPr sz="3400"/>
            </a:lvl4pPr>
            <a:lvl5pPr marL="0" indent="914400" algn="ctr">
              <a:spcBef>
                <a:spcPts val="0"/>
              </a:spcBef>
              <a:buSzTx/>
              <a:buNone/>
              <a:defRPr sz="3400"/>
            </a:lvl5pPr>
          </a:lstStyle>
          <a:p>
            <a:pPr lvl="0">
              <a:defRPr sz="1800"/>
            </a:pPr>
            <a:r>
              <a:rPr sz="3400"/>
              <a:t>Body Level One</a:t>
            </a:r>
          </a:p>
          <a:p>
            <a:pPr lvl="1">
              <a:defRPr sz="1800"/>
            </a:pPr>
            <a:r>
              <a:rPr sz="3400"/>
              <a:t>Body Level Two</a:t>
            </a:r>
          </a:p>
          <a:p>
            <a:pPr lvl="2">
              <a:defRPr sz="1800"/>
            </a:pPr>
            <a:r>
              <a:rPr sz="3400"/>
              <a:t>Body Level Three</a:t>
            </a:r>
          </a:p>
          <a:p>
            <a:pPr lvl="3">
              <a:defRPr sz="1800"/>
            </a:pPr>
            <a:r>
              <a:rPr sz="3400"/>
              <a:t>Body Level Four</a:t>
            </a:r>
          </a:p>
          <a:p>
            <a:pPr lvl="4">
              <a:defRPr sz="1800"/>
            </a:pPr>
            <a:r>
              <a:rPr sz="3400"/>
              <a:t>Body Level Five</a:t>
            </a:r>
          </a:p>
        </p:txBody>
      </p:sp>
    </p:spTree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- 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hape 11"/>
          <p:cNvSpPr>
            <a:spLocks noGrp="1"/>
          </p:cNvSpPr>
          <p:nvPr>
            <p:ph type="title"/>
          </p:nvPr>
        </p:nvSpPr>
        <p:spPr>
          <a:xfrm>
            <a:off x="1364257" y="3623964"/>
            <a:ext cx="11241486" cy="3547072"/>
          </a:xfrm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8800"/>
              <a:t>Title Text</a:t>
            </a:r>
          </a:p>
        </p:txBody>
      </p:sp>
    </p:spTree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 -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hape 13"/>
          <p:cNvSpPr>
            <a:spLocks noGrp="1"/>
          </p:cNvSpPr>
          <p:nvPr>
            <p:ph type="title"/>
          </p:nvPr>
        </p:nvSpPr>
        <p:spPr>
          <a:xfrm>
            <a:off x="1023193" y="840878"/>
            <a:ext cx="5729884" cy="4283771"/>
          </a:xfrm>
          <a:prstGeom prst="rect">
            <a:avLst/>
          </a:prstGeom>
        </p:spPr>
        <p:txBody>
          <a:bodyPr anchor="b"/>
          <a:lstStyle>
            <a:lvl1pPr>
              <a:defRPr sz="6600"/>
            </a:lvl1pPr>
          </a:lstStyle>
          <a:p>
            <a:pPr lvl="0">
              <a:defRPr sz="1800"/>
            </a:pPr>
            <a:r>
              <a:rPr sz="6600"/>
              <a:t>Title Text</a:t>
            </a:r>
          </a:p>
        </p:txBody>
      </p:sp>
      <p:sp>
        <p:nvSpPr>
          <p:cNvPr id="14" name="Shape 14"/>
          <p:cNvSpPr>
            <a:spLocks noGrp="1"/>
          </p:cNvSpPr>
          <p:nvPr>
            <p:ph type="body" idx="1"/>
          </p:nvPr>
        </p:nvSpPr>
        <p:spPr>
          <a:xfrm>
            <a:off x="1023193" y="5274716"/>
            <a:ext cx="5729884" cy="4406554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3400"/>
            </a:lvl1pPr>
            <a:lvl2pPr marL="0" indent="228600" algn="ctr">
              <a:spcBef>
                <a:spcPts val="0"/>
              </a:spcBef>
              <a:buSzTx/>
              <a:buNone/>
              <a:defRPr sz="3400"/>
            </a:lvl2pPr>
            <a:lvl3pPr marL="0" indent="457200" algn="ctr">
              <a:spcBef>
                <a:spcPts val="0"/>
              </a:spcBef>
              <a:buSzTx/>
              <a:buNone/>
              <a:defRPr sz="3400"/>
            </a:lvl3pPr>
            <a:lvl4pPr marL="0" indent="685800" algn="ctr">
              <a:spcBef>
                <a:spcPts val="0"/>
              </a:spcBef>
              <a:buSzTx/>
              <a:buNone/>
              <a:defRPr sz="3400"/>
            </a:lvl4pPr>
            <a:lvl5pPr marL="0" indent="914400" algn="ctr">
              <a:spcBef>
                <a:spcPts val="0"/>
              </a:spcBef>
              <a:buSzTx/>
              <a:buNone/>
              <a:defRPr sz="3400"/>
            </a:lvl5pPr>
          </a:lstStyle>
          <a:p>
            <a:pPr lvl="0">
              <a:defRPr sz="1800"/>
            </a:pPr>
            <a:r>
              <a:rPr sz="3400"/>
              <a:t>Body Level One</a:t>
            </a:r>
          </a:p>
          <a:p>
            <a:pPr lvl="1">
              <a:defRPr sz="1800"/>
            </a:pPr>
            <a:r>
              <a:rPr sz="3400"/>
              <a:t>Body Level Two</a:t>
            </a:r>
          </a:p>
          <a:p>
            <a:pPr lvl="2">
              <a:defRPr sz="1800"/>
            </a:pPr>
            <a:r>
              <a:rPr sz="3400"/>
              <a:t>Body Level Three</a:t>
            </a:r>
          </a:p>
          <a:p>
            <a:pPr lvl="3">
              <a:defRPr sz="1800"/>
            </a:pPr>
            <a:r>
              <a:rPr sz="3400"/>
              <a:t>Body Level Four</a:t>
            </a:r>
          </a:p>
          <a:p>
            <a:pPr lvl="4">
              <a:defRPr sz="1800"/>
            </a:pPr>
            <a:r>
              <a:rPr sz="3400"/>
              <a:t>Body Level Five</a:t>
            </a:r>
          </a:p>
        </p:txBody>
      </p:sp>
    </p:spTree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-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hape 16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8800"/>
              <a:t>Title Text</a:t>
            </a:r>
          </a:p>
        </p:txBody>
      </p:sp>
    </p:spTree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45919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1" name="think-cell Slide" r:id="rId4" imgW="532" imgH="530" progId="TCLayout.ActiveDocument.1">
                  <p:embed/>
                </p:oleObj>
              </mc:Choice>
              <mc:Fallback>
                <p:oleObj name="think-cell Slide" r:id="rId4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hape 18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8800"/>
              <a:t>Title Text</a:t>
            </a:r>
          </a:p>
        </p:txBody>
      </p:sp>
      <p:sp>
        <p:nvSpPr>
          <p:cNvPr id="19" name="Shape 19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3800"/>
              <a:t>Body Level One</a:t>
            </a:r>
          </a:p>
          <a:p>
            <a:pPr lvl="1">
              <a:defRPr sz="1800"/>
            </a:pPr>
            <a:r>
              <a:rPr sz="3800"/>
              <a:t>Body Level Two</a:t>
            </a:r>
          </a:p>
          <a:p>
            <a:pPr lvl="2">
              <a:defRPr sz="1800"/>
            </a:pPr>
            <a:r>
              <a:rPr sz="3800"/>
              <a:t>Body Level Three</a:t>
            </a:r>
          </a:p>
          <a:p>
            <a:pPr lvl="3">
              <a:defRPr sz="1800"/>
            </a:pPr>
            <a:r>
              <a:rPr sz="3800"/>
              <a:t>Body Level Four</a:t>
            </a:r>
          </a:p>
          <a:p>
            <a:pPr lvl="4">
              <a:defRPr sz="1800"/>
            </a:pPr>
            <a:r>
              <a:rPr sz="3800"/>
              <a:t>Body Level Five</a:t>
            </a:r>
          </a:p>
        </p:txBody>
      </p:sp>
    </p:spTree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, Bullets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hape 2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8800"/>
              <a:t>Title Text</a:t>
            </a:r>
          </a:p>
        </p:txBody>
      </p:sp>
      <p:sp>
        <p:nvSpPr>
          <p:cNvPr id="22" name="Shape 22"/>
          <p:cNvSpPr>
            <a:spLocks noGrp="1"/>
          </p:cNvSpPr>
          <p:nvPr>
            <p:ph type="body" idx="1"/>
          </p:nvPr>
        </p:nvSpPr>
        <p:spPr>
          <a:xfrm>
            <a:off x="1023193" y="2955478"/>
            <a:ext cx="5729884" cy="6753077"/>
          </a:xfrm>
          <a:prstGeom prst="rect">
            <a:avLst/>
          </a:prstGeom>
        </p:spPr>
        <p:txBody>
          <a:bodyPr/>
          <a:lstStyle>
            <a:lvl1pPr marL="367392" indent="-367392">
              <a:spcBef>
                <a:spcPts val="3200"/>
              </a:spcBef>
              <a:defRPr sz="3000"/>
            </a:lvl1pPr>
            <a:lvl2pPr marL="710292" indent="-367392">
              <a:spcBef>
                <a:spcPts val="3200"/>
              </a:spcBef>
              <a:defRPr sz="3000"/>
            </a:lvl2pPr>
            <a:lvl3pPr marL="1053192" indent="-367392">
              <a:spcBef>
                <a:spcPts val="3200"/>
              </a:spcBef>
              <a:defRPr sz="3000"/>
            </a:lvl3pPr>
            <a:lvl4pPr marL="1396092" indent="-367392">
              <a:spcBef>
                <a:spcPts val="3200"/>
              </a:spcBef>
              <a:defRPr sz="3000"/>
            </a:lvl4pPr>
            <a:lvl5pPr marL="1738992" indent="-367392">
              <a:spcBef>
                <a:spcPts val="3200"/>
              </a:spcBef>
              <a:defRPr sz="3000"/>
            </a:lvl5pPr>
          </a:lstStyle>
          <a:p>
            <a:pPr lvl="0">
              <a:defRPr sz="1800"/>
            </a:pPr>
            <a:r>
              <a:rPr sz="3000"/>
              <a:t>Body Level One</a:t>
            </a:r>
          </a:p>
          <a:p>
            <a:pPr lvl="1">
              <a:defRPr sz="1800"/>
            </a:pPr>
            <a:r>
              <a:rPr sz="3000"/>
              <a:t>Body Level Two</a:t>
            </a:r>
          </a:p>
          <a:p>
            <a:pPr lvl="2">
              <a:defRPr sz="1800"/>
            </a:pPr>
            <a:r>
              <a:rPr sz="3000"/>
              <a:t>Body Level Three</a:t>
            </a:r>
          </a:p>
          <a:p>
            <a:pPr lvl="3">
              <a:defRPr sz="1800"/>
            </a:pPr>
            <a:r>
              <a:rPr sz="3000"/>
              <a:t>Body Level Four</a:t>
            </a:r>
          </a:p>
          <a:p>
            <a:pPr lvl="4">
              <a:defRPr sz="1800"/>
            </a:pPr>
            <a:r>
              <a:rPr sz="3000"/>
              <a:t>Body Level Five</a:t>
            </a:r>
          </a:p>
        </p:txBody>
      </p:sp>
    </p:spTree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Shape 24"/>
          <p:cNvSpPr>
            <a:spLocks noGrp="1"/>
          </p:cNvSpPr>
          <p:nvPr>
            <p:ph type="body" idx="1"/>
          </p:nvPr>
        </p:nvSpPr>
        <p:spPr>
          <a:xfrm>
            <a:off x="1023193" y="1523007"/>
            <a:ext cx="11923614" cy="7748986"/>
          </a:xfrm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3800"/>
              <a:t>Body Level One</a:t>
            </a:r>
          </a:p>
          <a:p>
            <a:pPr lvl="1">
              <a:defRPr sz="1800"/>
            </a:pPr>
            <a:r>
              <a:rPr sz="3800"/>
              <a:t>Body Level Two</a:t>
            </a:r>
          </a:p>
          <a:p>
            <a:pPr lvl="2">
              <a:defRPr sz="1800"/>
            </a:pPr>
            <a:r>
              <a:rPr sz="3800"/>
              <a:t>Body Level Three</a:t>
            </a:r>
          </a:p>
          <a:p>
            <a:pPr lvl="3">
              <a:defRPr sz="1800"/>
            </a:pPr>
            <a:r>
              <a:rPr sz="3800"/>
              <a:t>Body Level Four</a:t>
            </a:r>
          </a:p>
          <a:p>
            <a:pPr lvl="4">
              <a:defRPr sz="1800"/>
            </a:pPr>
            <a:r>
              <a:rPr sz="3800"/>
              <a:t>Body Level Five</a:t>
            </a:r>
          </a:p>
        </p:txBody>
      </p:sp>
    </p:spTree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4672062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7" name="think-cell Slide" r:id="rId14" imgW="532" imgH="530" progId="TCLayout.ActiveDocument.1">
                  <p:embed/>
                </p:oleObj>
              </mc:Choice>
              <mc:Fallback>
                <p:oleObj name="think-cell Slide" r:id="rId14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hape 2"/>
          <p:cNvSpPr>
            <a:spLocks noGrp="1"/>
          </p:cNvSpPr>
          <p:nvPr>
            <p:ph type="title"/>
          </p:nvPr>
        </p:nvSpPr>
        <p:spPr>
          <a:xfrm>
            <a:off x="1023193" y="636240"/>
            <a:ext cx="11923614" cy="231923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ctr">
            <a:normAutofit/>
          </a:bodyPr>
          <a:lstStyle/>
          <a:p>
            <a:pPr lvl="0">
              <a:defRPr sz="1800"/>
            </a:pPr>
            <a:r>
              <a:rPr sz="8800"/>
              <a:t>Title Text</a:t>
            </a:r>
          </a:p>
        </p:txBody>
      </p:sp>
      <p:sp>
        <p:nvSpPr>
          <p:cNvPr id="3" name="Shape 3"/>
          <p:cNvSpPr>
            <a:spLocks noGrp="1"/>
          </p:cNvSpPr>
          <p:nvPr>
            <p:ph type="body" idx="1"/>
          </p:nvPr>
        </p:nvSpPr>
        <p:spPr>
          <a:xfrm>
            <a:off x="1023193" y="2955478"/>
            <a:ext cx="11923614" cy="67530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ctr">
            <a:normAutofit/>
          </a:bodyPr>
          <a:lstStyle/>
          <a:p>
            <a:pPr lvl="0">
              <a:defRPr sz="1800"/>
            </a:pPr>
            <a:r>
              <a:rPr sz="3800"/>
              <a:t>Body Level One</a:t>
            </a:r>
          </a:p>
          <a:p>
            <a:pPr lvl="1">
              <a:defRPr sz="1800"/>
            </a:pPr>
            <a:r>
              <a:rPr sz="3800"/>
              <a:t>Body Level Two</a:t>
            </a:r>
          </a:p>
          <a:p>
            <a:pPr lvl="2">
              <a:defRPr sz="1800"/>
            </a:pPr>
            <a:r>
              <a:rPr sz="3800"/>
              <a:t>Body Level Three</a:t>
            </a:r>
          </a:p>
          <a:p>
            <a:pPr lvl="3">
              <a:defRPr sz="1800"/>
            </a:pPr>
            <a:r>
              <a:rPr sz="3800"/>
              <a:t>Body Level Four</a:t>
            </a:r>
          </a:p>
          <a:p>
            <a:pPr lvl="4">
              <a:defRPr sz="1800"/>
            </a:pPr>
            <a:r>
              <a:rPr sz="3800"/>
              <a:t>Body Level Fiv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9" r:id="rId9"/>
    <p:sldLayoutId id="2147483660" r:id="rId10"/>
  </p:sldLayoutIdLst>
  <p:transition spd="med"/>
  <p:txStyles>
    <p:titleStyle>
      <a:lvl1pPr algn="ctr" defTabSz="584200">
        <a:defRPr sz="8800">
          <a:latin typeface="+mn-lt"/>
          <a:ea typeface="+mn-ea"/>
          <a:cs typeface="+mn-cs"/>
          <a:sym typeface="Helvetica Light"/>
        </a:defRPr>
      </a:lvl1pPr>
      <a:lvl2pPr indent="228600" algn="ctr" defTabSz="584200">
        <a:defRPr sz="8800">
          <a:latin typeface="+mn-lt"/>
          <a:ea typeface="+mn-ea"/>
          <a:cs typeface="+mn-cs"/>
          <a:sym typeface="Helvetica Light"/>
        </a:defRPr>
      </a:lvl2pPr>
      <a:lvl3pPr indent="457200" algn="ctr" defTabSz="584200">
        <a:defRPr sz="8800">
          <a:latin typeface="+mn-lt"/>
          <a:ea typeface="+mn-ea"/>
          <a:cs typeface="+mn-cs"/>
          <a:sym typeface="Helvetica Light"/>
        </a:defRPr>
      </a:lvl3pPr>
      <a:lvl4pPr indent="685800" algn="ctr" defTabSz="584200">
        <a:defRPr sz="8800">
          <a:latin typeface="+mn-lt"/>
          <a:ea typeface="+mn-ea"/>
          <a:cs typeface="+mn-cs"/>
          <a:sym typeface="Helvetica Light"/>
        </a:defRPr>
      </a:lvl4pPr>
      <a:lvl5pPr indent="914400" algn="ctr" defTabSz="584200">
        <a:defRPr sz="8800">
          <a:latin typeface="+mn-lt"/>
          <a:ea typeface="+mn-ea"/>
          <a:cs typeface="+mn-cs"/>
          <a:sym typeface="Helvetica Light"/>
        </a:defRPr>
      </a:lvl5pPr>
      <a:lvl6pPr indent="1143000" algn="ctr" defTabSz="584200">
        <a:defRPr sz="8800">
          <a:latin typeface="+mn-lt"/>
          <a:ea typeface="+mn-ea"/>
          <a:cs typeface="+mn-cs"/>
          <a:sym typeface="Helvetica Light"/>
        </a:defRPr>
      </a:lvl6pPr>
      <a:lvl7pPr indent="1371600" algn="ctr" defTabSz="584200">
        <a:defRPr sz="8800">
          <a:latin typeface="+mn-lt"/>
          <a:ea typeface="+mn-ea"/>
          <a:cs typeface="+mn-cs"/>
          <a:sym typeface="Helvetica Light"/>
        </a:defRPr>
      </a:lvl7pPr>
      <a:lvl8pPr indent="1600200" algn="ctr" defTabSz="584200">
        <a:defRPr sz="8800">
          <a:latin typeface="+mn-lt"/>
          <a:ea typeface="+mn-ea"/>
          <a:cs typeface="+mn-cs"/>
          <a:sym typeface="Helvetica Light"/>
        </a:defRPr>
      </a:lvl8pPr>
      <a:lvl9pPr indent="1828800" algn="ctr" defTabSz="584200">
        <a:defRPr sz="8800">
          <a:latin typeface="+mn-lt"/>
          <a:ea typeface="+mn-ea"/>
          <a:cs typeface="+mn-cs"/>
          <a:sym typeface="Helvetica Light"/>
        </a:defRPr>
      </a:lvl9pPr>
    </p:titleStyle>
    <p:bodyStyle>
      <a:lvl1pPr marL="469194" indent="-469194" defTabSz="584200">
        <a:spcBef>
          <a:spcPts val="4200"/>
        </a:spcBef>
        <a:buSzPct val="75000"/>
        <a:buChar char="•"/>
        <a:defRPr sz="3800">
          <a:latin typeface="+mn-lt"/>
          <a:ea typeface="+mn-ea"/>
          <a:cs typeface="+mn-cs"/>
          <a:sym typeface="Helvetica Light"/>
        </a:defRPr>
      </a:lvl1pPr>
      <a:lvl2pPr marL="913694" indent="-469194" defTabSz="584200">
        <a:spcBef>
          <a:spcPts val="4200"/>
        </a:spcBef>
        <a:buSzPct val="75000"/>
        <a:buChar char="•"/>
        <a:defRPr sz="3800">
          <a:latin typeface="+mn-lt"/>
          <a:ea typeface="+mn-ea"/>
          <a:cs typeface="+mn-cs"/>
          <a:sym typeface="Helvetica Light"/>
        </a:defRPr>
      </a:lvl2pPr>
      <a:lvl3pPr marL="1358194" indent="-469194" defTabSz="584200">
        <a:spcBef>
          <a:spcPts val="4200"/>
        </a:spcBef>
        <a:buSzPct val="75000"/>
        <a:buChar char="•"/>
        <a:defRPr sz="3800">
          <a:latin typeface="+mn-lt"/>
          <a:ea typeface="+mn-ea"/>
          <a:cs typeface="+mn-cs"/>
          <a:sym typeface="Helvetica Light"/>
        </a:defRPr>
      </a:lvl3pPr>
      <a:lvl4pPr marL="1802694" indent="-469194" defTabSz="584200">
        <a:spcBef>
          <a:spcPts val="4200"/>
        </a:spcBef>
        <a:buSzPct val="75000"/>
        <a:buChar char="•"/>
        <a:defRPr sz="3800">
          <a:latin typeface="+mn-lt"/>
          <a:ea typeface="+mn-ea"/>
          <a:cs typeface="+mn-cs"/>
          <a:sym typeface="Helvetica Light"/>
        </a:defRPr>
      </a:lvl4pPr>
      <a:lvl5pPr marL="2247194" indent="-469194" defTabSz="584200">
        <a:spcBef>
          <a:spcPts val="4200"/>
        </a:spcBef>
        <a:buSzPct val="75000"/>
        <a:buChar char="•"/>
        <a:defRPr sz="3800">
          <a:latin typeface="+mn-lt"/>
          <a:ea typeface="+mn-ea"/>
          <a:cs typeface="+mn-cs"/>
          <a:sym typeface="Helvetica Light"/>
        </a:defRPr>
      </a:lvl5pPr>
      <a:lvl6pPr marL="2691694" indent="-469194" defTabSz="584200">
        <a:spcBef>
          <a:spcPts val="4200"/>
        </a:spcBef>
        <a:buSzPct val="75000"/>
        <a:buChar char="•"/>
        <a:defRPr sz="3800">
          <a:latin typeface="+mn-lt"/>
          <a:ea typeface="+mn-ea"/>
          <a:cs typeface="+mn-cs"/>
          <a:sym typeface="Helvetica Light"/>
        </a:defRPr>
      </a:lvl6pPr>
      <a:lvl7pPr marL="3136194" indent="-469194" defTabSz="584200">
        <a:spcBef>
          <a:spcPts val="4200"/>
        </a:spcBef>
        <a:buSzPct val="75000"/>
        <a:buChar char="•"/>
        <a:defRPr sz="3800">
          <a:latin typeface="+mn-lt"/>
          <a:ea typeface="+mn-ea"/>
          <a:cs typeface="+mn-cs"/>
          <a:sym typeface="Helvetica Light"/>
        </a:defRPr>
      </a:lvl7pPr>
      <a:lvl8pPr marL="3580694" indent="-469194" defTabSz="584200">
        <a:spcBef>
          <a:spcPts val="4200"/>
        </a:spcBef>
        <a:buSzPct val="75000"/>
        <a:buChar char="•"/>
        <a:defRPr sz="3800">
          <a:latin typeface="+mn-lt"/>
          <a:ea typeface="+mn-ea"/>
          <a:cs typeface="+mn-cs"/>
          <a:sym typeface="Helvetica Light"/>
        </a:defRPr>
      </a:lvl8pPr>
      <a:lvl9pPr marL="4025194" indent="-469194" defTabSz="584200">
        <a:spcBef>
          <a:spcPts val="4200"/>
        </a:spcBef>
        <a:buSzPct val="75000"/>
        <a:buChar char="•"/>
        <a:defRPr sz="3800">
          <a:latin typeface="+mn-lt"/>
          <a:ea typeface="+mn-ea"/>
          <a:cs typeface="+mn-cs"/>
          <a:sym typeface="Helvetica Light"/>
        </a:defRPr>
      </a:lvl9pPr>
    </p:bodyStyle>
    <p:otherStyle>
      <a:lvl1pPr algn="ctr" defTabSz="584200">
        <a:defRPr>
          <a:solidFill>
            <a:schemeClr val="tx1"/>
          </a:solidFill>
          <a:latin typeface="+mn-lt"/>
          <a:ea typeface="+mn-ea"/>
          <a:cs typeface="+mn-cs"/>
          <a:sym typeface="Helvetica Light"/>
        </a:defRPr>
      </a:lvl1pPr>
      <a:lvl2pPr indent="228600" algn="ctr" defTabSz="584200">
        <a:defRPr>
          <a:solidFill>
            <a:schemeClr val="tx1"/>
          </a:solidFill>
          <a:latin typeface="+mn-lt"/>
          <a:ea typeface="+mn-ea"/>
          <a:cs typeface="+mn-cs"/>
          <a:sym typeface="Helvetica Light"/>
        </a:defRPr>
      </a:lvl2pPr>
      <a:lvl3pPr indent="457200" algn="ctr" defTabSz="584200">
        <a:defRPr>
          <a:solidFill>
            <a:schemeClr val="tx1"/>
          </a:solidFill>
          <a:latin typeface="+mn-lt"/>
          <a:ea typeface="+mn-ea"/>
          <a:cs typeface="+mn-cs"/>
          <a:sym typeface="Helvetica Light"/>
        </a:defRPr>
      </a:lvl3pPr>
      <a:lvl4pPr indent="685800" algn="ctr" defTabSz="584200">
        <a:defRPr>
          <a:solidFill>
            <a:schemeClr val="tx1"/>
          </a:solidFill>
          <a:latin typeface="+mn-lt"/>
          <a:ea typeface="+mn-ea"/>
          <a:cs typeface="+mn-cs"/>
          <a:sym typeface="Helvetica Light"/>
        </a:defRPr>
      </a:lvl4pPr>
      <a:lvl5pPr indent="914400" algn="ctr" defTabSz="584200">
        <a:defRPr>
          <a:solidFill>
            <a:schemeClr val="tx1"/>
          </a:solidFill>
          <a:latin typeface="+mn-lt"/>
          <a:ea typeface="+mn-ea"/>
          <a:cs typeface="+mn-cs"/>
          <a:sym typeface="Helvetica Light"/>
        </a:defRPr>
      </a:lvl5pPr>
      <a:lvl6pPr indent="1143000" algn="ctr" defTabSz="584200">
        <a:defRPr>
          <a:solidFill>
            <a:schemeClr val="tx1"/>
          </a:solidFill>
          <a:latin typeface="+mn-lt"/>
          <a:ea typeface="+mn-ea"/>
          <a:cs typeface="+mn-cs"/>
          <a:sym typeface="Helvetica Light"/>
        </a:defRPr>
      </a:lvl6pPr>
      <a:lvl7pPr indent="1371600" algn="ctr" defTabSz="584200">
        <a:defRPr>
          <a:solidFill>
            <a:schemeClr val="tx1"/>
          </a:solidFill>
          <a:latin typeface="+mn-lt"/>
          <a:ea typeface="+mn-ea"/>
          <a:cs typeface="+mn-cs"/>
          <a:sym typeface="Helvetica Light"/>
        </a:defRPr>
      </a:lvl7pPr>
      <a:lvl8pPr indent="1600200" algn="ctr" defTabSz="584200">
        <a:defRPr>
          <a:solidFill>
            <a:schemeClr val="tx1"/>
          </a:solidFill>
          <a:latin typeface="+mn-lt"/>
          <a:ea typeface="+mn-ea"/>
          <a:cs typeface="+mn-cs"/>
          <a:sym typeface="Helvetica Light"/>
        </a:defRPr>
      </a:lvl8pPr>
      <a:lvl9pPr indent="1828800" algn="ctr" defTabSz="584200">
        <a:defRPr>
          <a:solidFill>
            <a:schemeClr val="tx1"/>
          </a:solidFill>
          <a:latin typeface="+mn-lt"/>
          <a:ea typeface="+mn-ea"/>
          <a:cs typeface="+mn-cs"/>
          <a:sym typeface="Helvetica Light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hyperlink" Target="https://github.com/mlr-org/mlr" TargetMode="External"/><Relationship Id="rId3" Type="http://schemas.openxmlformats.org/officeDocument/2006/relationships/slideLayout" Target="../slideLayouts/slideLayout6.xml"/><Relationship Id="rId7" Type="http://schemas.openxmlformats.org/officeDocument/2006/relationships/hyperlink" Target="https://cran.r-project.org/web/packages/mlr/index.html" TargetMode="External"/><Relationship Id="rId12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hyperlink" Target="https://mlr-org.github.io/mlr-tutorial/devel/html/index.html" TargetMode="External"/><Relationship Id="rId11" Type="http://schemas.openxmlformats.org/officeDocument/2006/relationships/hyperlink" Target="https://mlr-org.github.io/mlr-tutorial/devel/html/" TargetMode="External"/><Relationship Id="rId5" Type="http://schemas.openxmlformats.org/officeDocument/2006/relationships/image" Target="../media/image2.emf"/><Relationship Id="rId10" Type="http://schemas.openxmlformats.org/officeDocument/2006/relationships/hyperlink" Target="https://creativecommons.org/licenses/by/4.0/" TargetMode="External"/><Relationship Id="rId4" Type="http://schemas.openxmlformats.org/officeDocument/2006/relationships/oleObject" Target="../embeddings/oleObject3.bin"/><Relationship Id="rId9" Type="http://schemas.openxmlformats.org/officeDocument/2006/relationships/image" Target="../media/image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mlr-org.github.io/mlr-tutorial/devel/html/" TargetMode="External"/><Relationship Id="rId2" Type="http://schemas.openxmlformats.org/officeDocument/2006/relationships/hyperlink" Target="https://creativecommons.org/licenses/by/4.0/" TargetMode="Externa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6" name="Object 11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543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37" name="think-cell Slide" r:id="rId4" imgW="532" imgH="530" progId="TCLayout.ActiveDocument.1">
                  <p:embed/>
                </p:oleObj>
              </mc:Choice>
              <mc:Fallback>
                <p:oleObj name="think-cell Slide" r:id="rId4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10"/>
          <p:cNvSpPr/>
          <p:nvPr/>
        </p:nvSpPr>
        <p:spPr>
          <a:xfrm>
            <a:off x="277225" y="1843026"/>
            <a:ext cx="3263904" cy="5582090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4570" tIns="54570" rIns="54570" bIns="54570" numCol="1" spcCol="38100" rtlCol="0" anchor="ctr">
            <a:no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26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6" name="Shape 38"/>
          <p:cNvSpPr/>
          <p:nvPr/>
        </p:nvSpPr>
        <p:spPr>
          <a:xfrm>
            <a:off x="277227" y="1688738"/>
            <a:ext cx="3263902" cy="325598"/>
          </a:xfrm>
          <a:prstGeom prst="roundRect">
            <a:avLst>
              <a:gd name="adj" fmla="val 20098"/>
            </a:avLst>
          </a:prstGeom>
          <a:solidFill>
            <a:srgbClr val="1D4BA8"/>
          </a:solidFill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 anchor="ctr"/>
          <a:lstStyle/>
          <a:p>
            <a:pPr lvl="1" indent="0">
              <a:defRPr sz="1800"/>
            </a:pPr>
            <a:r>
              <a:rPr lang="en-GB" sz="2000" dirty="0">
                <a:solidFill>
                  <a:srgbClr val="FFFFFF"/>
                </a:solidFill>
                <a:latin typeface="Arial" panose="020B0604020202020204" pitchFamily="34" charset="0"/>
                <a:ea typeface="Source Sans Pro"/>
                <a:cs typeface="Arial" panose="020B0604020202020204" pitchFamily="34" charset="0"/>
                <a:sym typeface="Source Sans Pro"/>
              </a:rPr>
              <a:t>Introduction</a:t>
            </a:r>
            <a:endParaRPr sz="2000" dirty="0">
              <a:solidFill>
                <a:srgbClr val="FFFFFF"/>
              </a:solidFill>
              <a:latin typeface="Arial" panose="020B0604020202020204" pitchFamily="34" charset="0"/>
              <a:ea typeface="Source Sans Pro"/>
              <a:cs typeface="Arial" panose="020B0604020202020204" pitchFamily="34" charset="0"/>
              <a:sym typeface="Source Sans Pro"/>
            </a:endParaRPr>
          </a:p>
        </p:txBody>
      </p:sp>
      <p:sp>
        <p:nvSpPr>
          <p:cNvPr id="7" name="Abgerundetes Rechteck 7"/>
          <p:cNvSpPr/>
          <p:nvPr/>
        </p:nvSpPr>
        <p:spPr>
          <a:xfrm>
            <a:off x="407326" y="2115749"/>
            <a:ext cx="3001365" cy="5134404"/>
          </a:xfrm>
          <a:prstGeom prst="roundRect">
            <a:avLst>
              <a:gd name="adj" fmla="val 4902"/>
            </a:avLst>
          </a:prstGeom>
          <a:solidFill>
            <a:schemeClr val="bg1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4570" tIns="0" rIns="54570" bIns="0" numCol="1" spcCol="38100" rtlCol="0" anchor="t">
            <a:noAutofit/>
          </a:bodyPr>
          <a:lstStyle/>
          <a:p>
            <a:pPr lvl="0" algn="l">
              <a:lnSpc>
                <a:spcPts val="1400"/>
              </a:lnSpc>
              <a:spcBef>
                <a:spcPts val="1000"/>
              </a:spcBef>
              <a:buClr>
                <a:srgbClr val="F39019"/>
              </a:buClr>
              <a:defRPr sz="1800"/>
            </a:pPr>
            <a:r>
              <a:rPr lang="en-GB" sz="1000" b="1" i="1" dirty="0" err="1">
                <a:latin typeface="Source Sans Pro"/>
                <a:cs typeface="Arial" panose="020B0604020202020204" pitchFamily="34" charset="0"/>
              </a:rPr>
              <a:t>mlr</a:t>
            </a:r>
            <a:r>
              <a:rPr lang="en-GB" sz="1000" b="1" dirty="0">
                <a:latin typeface="Source Sans Pro"/>
                <a:cs typeface="Arial" panose="020B0604020202020204" pitchFamily="34" charset="0"/>
              </a:rPr>
              <a:t> offers a unified interface for the basic building </a:t>
            </a:r>
            <a:r>
              <a:rPr lang="en-GB" sz="1000" b="1" dirty="0" smtClean="0">
                <a:latin typeface="Source Sans Pro"/>
                <a:cs typeface="Arial" panose="020B0604020202020204" pitchFamily="34" charset="0"/>
              </a:rPr>
              <a:t>blocks of machine learning: </a:t>
            </a:r>
            <a:r>
              <a:rPr lang="en-GB" sz="1000" b="1" dirty="0">
                <a:latin typeface="Source Sans Pro"/>
                <a:cs typeface="Arial" panose="020B0604020202020204" pitchFamily="34" charset="0"/>
              </a:rPr>
              <a:t>tasks, learners, </a:t>
            </a:r>
            <a:r>
              <a:rPr lang="en-GB" sz="1000" b="1" dirty="0" err="1">
                <a:latin typeface="Source Sans Pro"/>
                <a:cs typeface="Arial" panose="020B0604020202020204" pitchFamily="34" charset="0"/>
              </a:rPr>
              <a:t>hyperparameters</a:t>
            </a:r>
            <a:r>
              <a:rPr lang="en-GB" sz="1000" b="1" dirty="0" smtClean="0">
                <a:latin typeface="Source Sans Pro"/>
                <a:cs typeface="Arial" panose="020B0604020202020204" pitchFamily="34" charset="0"/>
              </a:rPr>
              <a:t>, etc.</a:t>
            </a:r>
            <a:endParaRPr lang="en-GB" sz="1000" b="1" dirty="0">
              <a:latin typeface="Source Sans Pro"/>
              <a:cs typeface="Arial" panose="020B0604020202020204" pitchFamily="34" charset="0"/>
            </a:endParaRPr>
          </a:p>
          <a:p>
            <a:pPr lvl="0" algn="l">
              <a:lnSpc>
                <a:spcPts val="1400"/>
              </a:lnSpc>
              <a:spcBef>
                <a:spcPts val="1000"/>
              </a:spcBef>
              <a:buClr>
                <a:srgbClr val="F39019"/>
              </a:buClr>
              <a:defRPr sz="1800"/>
            </a:pPr>
            <a:r>
              <a:rPr lang="en-GB" sz="1000" b="1" dirty="0" smtClean="0">
                <a:solidFill>
                  <a:schemeClr val="tx1"/>
                </a:solidFill>
                <a:latin typeface="Source Sans Pro"/>
                <a:cs typeface="Arial" panose="020B0604020202020204" pitchFamily="34" charset="0"/>
              </a:rPr>
              <a:t>Tasks </a:t>
            </a:r>
            <a:r>
              <a:rPr lang="en-GB" sz="1000" dirty="0" smtClean="0">
                <a:solidFill>
                  <a:schemeClr val="tx1"/>
                </a:solidFill>
                <a:latin typeface="Source Sans Pro"/>
                <a:cs typeface="Arial" panose="020B0604020202020204" pitchFamily="34" charset="0"/>
              </a:rPr>
              <a:t>contain a description of a task (classification, regression, clustering, etc.) and a data set.</a:t>
            </a:r>
          </a:p>
          <a:p>
            <a:pPr lvl="0" algn="l">
              <a:lnSpc>
                <a:spcPts val="1400"/>
              </a:lnSpc>
              <a:spcBef>
                <a:spcPts val="1000"/>
              </a:spcBef>
              <a:buClr>
                <a:srgbClr val="F39019"/>
              </a:buClr>
              <a:defRPr sz="1800"/>
            </a:pPr>
            <a:r>
              <a:rPr lang="en-GB" sz="1000" b="1" dirty="0" smtClean="0">
                <a:solidFill>
                  <a:schemeClr val="tx1"/>
                </a:solidFill>
                <a:latin typeface="Source Sans Pro"/>
                <a:cs typeface="Arial" panose="020B0604020202020204" pitchFamily="34" charset="0"/>
              </a:rPr>
              <a:t>Learners </a:t>
            </a:r>
            <a:r>
              <a:rPr lang="en-GB" sz="1000" dirty="0" smtClean="0">
                <a:solidFill>
                  <a:schemeClr val="tx1"/>
                </a:solidFill>
                <a:latin typeface="Source Sans Pro"/>
                <a:cs typeface="Arial" panose="020B0604020202020204" pitchFamily="34" charset="0"/>
              </a:rPr>
              <a:t>specify a machine learning algorithm (GLM, SVM, </a:t>
            </a:r>
            <a:r>
              <a:rPr lang="en-GB" sz="1000" dirty="0" err="1" smtClean="0">
                <a:solidFill>
                  <a:schemeClr val="tx1"/>
                </a:solidFill>
                <a:latin typeface="Source Sans Pro"/>
                <a:cs typeface="Arial" panose="020B0604020202020204" pitchFamily="34" charset="0"/>
              </a:rPr>
              <a:t>xgboost</a:t>
            </a:r>
            <a:r>
              <a:rPr lang="en-GB" sz="1000" dirty="0" smtClean="0">
                <a:solidFill>
                  <a:schemeClr val="tx1"/>
                </a:solidFill>
                <a:latin typeface="Source Sans Pro"/>
                <a:cs typeface="Arial" panose="020B0604020202020204" pitchFamily="34" charset="0"/>
              </a:rPr>
              <a:t>, etc.) and its parameters.</a:t>
            </a:r>
          </a:p>
          <a:p>
            <a:pPr lvl="0" algn="l">
              <a:lnSpc>
                <a:spcPts val="1400"/>
              </a:lnSpc>
              <a:spcBef>
                <a:spcPts val="1000"/>
              </a:spcBef>
              <a:buClr>
                <a:srgbClr val="F39019"/>
              </a:buClr>
              <a:defRPr sz="1800"/>
            </a:pPr>
            <a:r>
              <a:rPr lang="en-GB" sz="1000" b="1" dirty="0" err="1" smtClean="0">
                <a:solidFill>
                  <a:schemeClr val="tx1"/>
                </a:solidFill>
                <a:latin typeface="Source Sans Pro"/>
                <a:cs typeface="Arial" panose="020B0604020202020204" pitchFamily="34" charset="0"/>
              </a:rPr>
              <a:t>Hyperparameters</a:t>
            </a:r>
            <a:r>
              <a:rPr lang="en-GB" sz="1000" b="1" dirty="0" smtClean="0">
                <a:solidFill>
                  <a:schemeClr val="tx1"/>
                </a:solidFill>
                <a:latin typeface="Source Sans Pro"/>
                <a:cs typeface="Arial" panose="020B0604020202020204" pitchFamily="34" charset="0"/>
              </a:rPr>
              <a:t> </a:t>
            </a:r>
            <a:r>
              <a:rPr lang="en-GB" sz="1000" dirty="0" smtClean="0">
                <a:solidFill>
                  <a:schemeClr val="tx1"/>
                </a:solidFill>
                <a:latin typeface="Source Sans Pro"/>
                <a:cs typeface="Arial" panose="020B0604020202020204" pitchFamily="34" charset="0"/>
              </a:rPr>
              <a:t>are learner settings that can be specified directly or tuned. A </a:t>
            </a:r>
            <a:r>
              <a:rPr lang="en-GB" sz="1000" b="1" dirty="0" smtClean="0">
                <a:solidFill>
                  <a:schemeClr val="tx1"/>
                </a:solidFill>
                <a:latin typeface="Source Sans Pro"/>
                <a:cs typeface="Arial" panose="020B0604020202020204" pitchFamily="34" charset="0"/>
              </a:rPr>
              <a:t>parameter set</a:t>
            </a:r>
            <a:r>
              <a:rPr lang="en-GB" sz="1000" dirty="0" smtClean="0">
                <a:solidFill>
                  <a:schemeClr val="tx1"/>
                </a:solidFill>
                <a:latin typeface="Source Sans Pro"/>
                <a:cs typeface="Arial" panose="020B0604020202020204" pitchFamily="34" charset="0"/>
              </a:rPr>
              <a:t> lists the possible </a:t>
            </a:r>
            <a:r>
              <a:rPr lang="en-GB" sz="1000" dirty="0" err="1" smtClean="0">
                <a:solidFill>
                  <a:schemeClr val="tx1"/>
                </a:solidFill>
                <a:latin typeface="Source Sans Pro"/>
                <a:cs typeface="Arial" panose="020B0604020202020204" pitchFamily="34" charset="0"/>
              </a:rPr>
              <a:t>hyperparameters</a:t>
            </a:r>
            <a:r>
              <a:rPr lang="en-GB" sz="1000" dirty="0" smtClean="0">
                <a:solidFill>
                  <a:schemeClr val="tx1"/>
                </a:solidFill>
                <a:latin typeface="Source Sans Pro"/>
                <a:cs typeface="Arial" panose="020B0604020202020204" pitchFamily="34" charset="0"/>
              </a:rPr>
              <a:t> for a given learner.</a:t>
            </a:r>
            <a:endParaRPr lang="en-GB" sz="1000" b="1" dirty="0" smtClean="0">
              <a:solidFill>
                <a:schemeClr val="tx1"/>
              </a:solidFill>
              <a:latin typeface="Source Sans Pro"/>
              <a:cs typeface="Arial" panose="020B0604020202020204" pitchFamily="34" charset="0"/>
            </a:endParaRPr>
          </a:p>
          <a:p>
            <a:pPr lvl="0" algn="l">
              <a:lnSpc>
                <a:spcPts val="1400"/>
              </a:lnSpc>
              <a:spcBef>
                <a:spcPts val="1000"/>
              </a:spcBef>
              <a:buClr>
                <a:srgbClr val="F39019"/>
              </a:buClr>
              <a:defRPr sz="1800"/>
            </a:pPr>
            <a:r>
              <a:rPr lang="en-GB" sz="1000" b="1" dirty="0" smtClean="0">
                <a:solidFill>
                  <a:schemeClr val="tx1"/>
                </a:solidFill>
                <a:latin typeface="Source Sans Pro"/>
                <a:cs typeface="Arial" panose="020B0604020202020204" pitchFamily="34" charset="0"/>
              </a:rPr>
              <a:t>Wrapped Models</a:t>
            </a:r>
            <a:r>
              <a:rPr lang="en-GB" sz="1000" dirty="0" smtClean="0">
                <a:solidFill>
                  <a:schemeClr val="tx1"/>
                </a:solidFill>
                <a:latin typeface="Source Sans Pro"/>
                <a:cs typeface="Arial" panose="020B0604020202020204" pitchFamily="34" charset="0"/>
              </a:rPr>
              <a:t> are learners that have been trained on a task and can be used to make predictions.</a:t>
            </a:r>
          </a:p>
          <a:p>
            <a:pPr lvl="0" algn="l">
              <a:lnSpc>
                <a:spcPts val="1400"/>
              </a:lnSpc>
              <a:spcBef>
                <a:spcPts val="1000"/>
              </a:spcBef>
              <a:buClr>
                <a:srgbClr val="F39019"/>
              </a:buClr>
              <a:defRPr sz="1800"/>
            </a:pPr>
            <a:r>
              <a:rPr lang="en-GB" sz="1000" b="1" dirty="0" smtClean="0">
                <a:solidFill>
                  <a:schemeClr val="tx1"/>
                </a:solidFill>
                <a:latin typeface="Source Sans Pro"/>
                <a:cs typeface="Arial" panose="020B0604020202020204" pitchFamily="34" charset="0"/>
              </a:rPr>
              <a:t>Predictions</a:t>
            </a:r>
            <a:r>
              <a:rPr lang="en-GB" sz="1000" dirty="0" smtClean="0">
                <a:solidFill>
                  <a:schemeClr val="tx1"/>
                </a:solidFill>
                <a:latin typeface="Source Sans Pro"/>
                <a:cs typeface="Arial" panose="020B0604020202020204" pitchFamily="34" charset="0"/>
              </a:rPr>
              <a:t> are the results of applying a model to either new data or the original training data.</a:t>
            </a:r>
            <a:endParaRPr lang="en-GB" sz="1000" b="1" dirty="0" smtClean="0">
              <a:solidFill>
                <a:schemeClr val="tx1"/>
              </a:solidFill>
              <a:latin typeface="Source Sans Pro"/>
              <a:cs typeface="Arial" panose="020B0604020202020204" pitchFamily="34" charset="0"/>
            </a:endParaRPr>
          </a:p>
          <a:p>
            <a:pPr lvl="0" algn="l">
              <a:lnSpc>
                <a:spcPts val="1400"/>
              </a:lnSpc>
              <a:spcBef>
                <a:spcPts val="1000"/>
              </a:spcBef>
              <a:buClr>
                <a:srgbClr val="F39019"/>
              </a:buClr>
              <a:defRPr sz="1800"/>
            </a:pPr>
            <a:r>
              <a:rPr lang="en-GB" sz="1000" b="1" dirty="0" smtClean="0">
                <a:solidFill>
                  <a:schemeClr val="tx1"/>
                </a:solidFill>
                <a:latin typeface="Source Sans Pro"/>
                <a:cs typeface="Arial" panose="020B0604020202020204" pitchFamily="34" charset="0"/>
              </a:rPr>
              <a:t>Measures</a:t>
            </a:r>
            <a:r>
              <a:rPr lang="en-GB" sz="1000" dirty="0" smtClean="0">
                <a:solidFill>
                  <a:schemeClr val="tx1"/>
                </a:solidFill>
                <a:latin typeface="Source Sans Pro"/>
                <a:cs typeface="Arial" panose="020B0604020202020204" pitchFamily="34" charset="0"/>
              </a:rPr>
              <a:t> control how learner performance is evaluated, e.g. RMSE, </a:t>
            </a:r>
            <a:r>
              <a:rPr lang="en-GB" sz="1000" dirty="0" err="1" smtClean="0">
                <a:solidFill>
                  <a:schemeClr val="tx1"/>
                </a:solidFill>
                <a:latin typeface="Source Sans Pro"/>
                <a:cs typeface="Arial" panose="020B0604020202020204" pitchFamily="34" charset="0"/>
              </a:rPr>
              <a:t>LogLoss</a:t>
            </a:r>
            <a:r>
              <a:rPr lang="en-GB" sz="1000" dirty="0" smtClean="0">
                <a:solidFill>
                  <a:schemeClr val="tx1"/>
                </a:solidFill>
                <a:latin typeface="Source Sans Pro"/>
                <a:cs typeface="Arial" panose="020B0604020202020204" pitchFamily="34" charset="0"/>
              </a:rPr>
              <a:t>, AUC, etc.</a:t>
            </a:r>
          </a:p>
          <a:p>
            <a:pPr lvl="0" algn="l">
              <a:lnSpc>
                <a:spcPts val="1400"/>
              </a:lnSpc>
              <a:spcBef>
                <a:spcPts val="1000"/>
              </a:spcBef>
              <a:buClr>
                <a:srgbClr val="F39019"/>
              </a:buClr>
              <a:defRPr sz="1800"/>
            </a:pPr>
            <a:r>
              <a:rPr lang="en-GB" sz="1000" b="1" dirty="0" smtClean="0">
                <a:solidFill>
                  <a:schemeClr val="tx1"/>
                </a:solidFill>
                <a:latin typeface="Source Sans Pro"/>
                <a:cs typeface="Arial" panose="020B0604020202020204" pitchFamily="34" charset="0"/>
              </a:rPr>
              <a:t>Resampling</a:t>
            </a:r>
            <a:r>
              <a:rPr lang="en-GB" sz="1000" dirty="0" smtClean="0">
                <a:solidFill>
                  <a:schemeClr val="tx1"/>
                </a:solidFill>
                <a:latin typeface="Source Sans Pro"/>
                <a:cs typeface="Arial" panose="020B0604020202020204" pitchFamily="34" charset="0"/>
              </a:rPr>
              <a:t> estimates generalization performance by separating training data from test data. Common strategies include holdout and cross-validation.</a:t>
            </a:r>
            <a:br>
              <a:rPr lang="en-GB" sz="1000" dirty="0" smtClean="0">
                <a:solidFill>
                  <a:schemeClr val="tx1"/>
                </a:solidFill>
                <a:latin typeface="Source Sans Pro"/>
                <a:cs typeface="Arial" panose="020B0604020202020204" pitchFamily="34" charset="0"/>
              </a:rPr>
            </a:br>
            <a:endParaRPr lang="en-GB" sz="1000" dirty="0" smtClean="0">
              <a:solidFill>
                <a:schemeClr val="tx1"/>
              </a:solidFill>
              <a:latin typeface="Source Sans Pro"/>
              <a:cs typeface="Arial" panose="020B0604020202020204" pitchFamily="34" charset="0"/>
            </a:endParaRPr>
          </a:p>
          <a:p>
            <a:pPr lvl="0">
              <a:lnSpc>
                <a:spcPts val="1400"/>
              </a:lnSpc>
              <a:spcBef>
                <a:spcPts val="1000"/>
              </a:spcBef>
              <a:buClr>
                <a:srgbClr val="F39019"/>
              </a:buClr>
              <a:defRPr sz="1800"/>
            </a:pPr>
            <a:r>
              <a:rPr lang="en-GB" sz="1000" dirty="0" smtClean="0">
                <a:solidFill>
                  <a:schemeClr val="tx1"/>
                </a:solidFill>
                <a:latin typeface="Source Sans Pro"/>
                <a:cs typeface="Arial" panose="020B0604020202020204" pitchFamily="34" charset="0"/>
              </a:rPr>
              <a:t>Links: </a:t>
            </a:r>
            <a:r>
              <a:rPr lang="en-GB" sz="1000" dirty="0" smtClean="0">
                <a:solidFill>
                  <a:schemeClr val="tx1"/>
                </a:solidFill>
                <a:latin typeface="Source Sans Pro"/>
                <a:cs typeface="Arial" panose="020B0604020202020204" pitchFamily="34" charset="0"/>
                <a:hlinkClick r:id="rId6"/>
              </a:rPr>
              <a:t>Tutorial</a:t>
            </a:r>
            <a:r>
              <a:rPr lang="en-GB" sz="1000" dirty="0" smtClean="0">
                <a:solidFill>
                  <a:schemeClr val="tx1"/>
                </a:solidFill>
                <a:latin typeface="Source Sans Pro"/>
                <a:cs typeface="Arial" panose="020B0604020202020204" pitchFamily="34" charset="0"/>
              </a:rPr>
              <a:t> | </a:t>
            </a:r>
            <a:r>
              <a:rPr lang="en-GB" sz="1000" dirty="0" smtClean="0">
                <a:solidFill>
                  <a:schemeClr val="tx1"/>
                </a:solidFill>
                <a:latin typeface="Source Sans Pro"/>
                <a:cs typeface="Arial" panose="020B0604020202020204" pitchFamily="34" charset="0"/>
                <a:hlinkClick r:id="rId7"/>
              </a:rPr>
              <a:t>CRAN</a:t>
            </a:r>
            <a:r>
              <a:rPr lang="en-GB" sz="1000" dirty="0" smtClean="0">
                <a:solidFill>
                  <a:schemeClr val="tx1"/>
                </a:solidFill>
                <a:latin typeface="Source Sans Pro"/>
                <a:cs typeface="Arial" panose="020B0604020202020204" pitchFamily="34" charset="0"/>
              </a:rPr>
              <a:t> | </a:t>
            </a:r>
            <a:r>
              <a:rPr lang="en-GB" sz="1000" dirty="0" err="1" smtClean="0">
                <a:solidFill>
                  <a:schemeClr val="tx1"/>
                </a:solidFill>
                <a:latin typeface="Source Sans Pro"/>
                <a:cs typeface="Arial" panose="020B0604020202020204" pitchFamily="34" charset="0"/>
                <a:hlinkClick r:id="rId8"/>
              </a:rPr>
              <a:t>Github</a:t>
            </a:r>
            <a:endParaRPr lang="en-GB" sz="1000" dirty="0" smtClean="0">
              <a:solidFill>
                <a:schemeClr val="tx1"/>
              </a:solidFill>
              <a:latin typeface="Source Sans Pro"/>
              <a:cs typeface="Arial" panose="020B0604020202020204" pitchFamily="34" charset="0"/>
            </a:endParaRPr>
          </a:p>
        </p:txBody>
      </p:sp>
      <p:sp>
        <p:nvSpPr>
          <p:cNvPr id="8" name="Shape 37"/>
          <p:cNvSpPr>
            <a:spLocks noGrp="1"/>
          </p:cNvSpPr>
          <p:nvPr>
            <p:ph type="title"/>
          </p:nvPr>
        </p:nvSpPr>
        <p:spPr>
          <a:xfrm>
            <a:off x="277225" y="273049"/>
            <a:ext cx="3217980" cy="1072163"/>
          </a:xfrm>
          <a:prstGeom prst="rect">
            <a:avLst/>
          </a:prstGeom>
        </p:spPr>
        <p:txBody>
          <a:bodyPr>
            <a:normAutofit/>
          </a:bodyPr>
          <a:lstStyle/>
          <a:p>
            <a:pPr lvl="0" defTabSz="280415">
              <a:lnSpc>
                <a:spcPct val="80000"/>
              </a:lnSpc>
              <a:defRPr sz="1800"/>
            </a:pPr>
            <a:r>
              <a:rPr lang="en-GB" sz="3200" dirty="0">
                <a:solidFill>
                  <a:srgbClr val="1D4BA8"/>
                </a:solidFill>
                <a:latin typeface="Source Sans Pro"/>
                <a:ea typeface="Source Sans Pro"/>
                <a:cs typeface="Source Sans Pro"/>
                <a:sym typeface="Source Sans Pro"/>
              </a:rPr>
              <a:t>Machine Learning</a:t>
            </a:r>
            <a:br>
              <a:rPr lang="en-GB" sz="3200" dirty="0">
                <a:solidFill>
                  <a:srgbClr val="1D4BA8"/>
                </a:solidFill>
                <a:latin typeface="Source Sans Pro"/>
                <a:ea typeface="Source Sans Pro"/>
                <a:cs typeface="Source Sans Pro"/>
                <a:sym typeface="Source Sans Pro"/>
              </a:rPr>
            </a:br>
            <a:r>
              <a:rPr lang="en-GB" sz="3200" dirty="0">
                <a:solidFill>
                  <a:srgbClr val="1D4BA8"/>
                </a:solidFill>
                <a:latin typeface="Source Sans Pro"/>
                <a:ea typeface="Source Sans Pro"/>
                <a:cs typeface="Source Sans Pro"/>
                <a:sym typeface="Source Sans Pro"/>
              </a:rPr>
              <a:t>with R</a:t>
            </a:r>
            <a:endParaRPr sz="4400" dirty="0">
              <a:solidFill>
                <a:srgbClr val="1D4BA8"/>
              </a:solidFill>
              <a:latin typeface="Source Sans Pro"/>
              <a:ea typeface="Source Sans Pro"/>
              <a:cs typeface="Source Sans Pro"/>
              <a:sym typeface="Source Sans Pro"/>
            </a:endParaRPr>
          </a:p>
        </p:txBody>
      </p:sp>
      <p:grpSp>
        <p:nvGrpSpPr>
          <p:cNvPr id="37" name="Gruppieren 16"/>
          <p:cNvGrpSpPr/>
          <p:nvPr/>
        </p:nvGrpSpPr>
        <p:grpSpPr>
          <a:xfrm>
            <a:off x="3654855" y="273050"/>
            <a:ext cx="3275674" cy="10256890"/>
            <a:chOff x="3658404" y="723065"/>
            <a:chExt cx="3275674" cy="9692246"/>
          </a:xfrm>
        </p:grpSpPr>
        <p:sp>
          <p:nvSpPr>
            <p:cNvPr id="38" name="Rechteck 71"/>
            <p:cNvSpPr/>
            <p:nvPr/>
          </p:nvSpPr>
          <p:spPr>
            <a:xfrm>
              <a:off x="3670176" y="825104"/>
              <a:ext cx="3263902" cy="959020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no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de-DE" sz="26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lang="de-DE" sz="2600" dirty="0">
                <a:solidFill>
                  <a:srgbClr val="FFFFFF"/>
                </a:solidFill>
              </a:endParaRPr>
            </a:p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de-DE" sz="26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lang="de-DE" sz="2600" dirty="0">
                <a:solidFill>
                  <a:srgbClr val="FFFFFF"/>
                </a:solidFill>
              </a:endParaRPr>
            </a:p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de-DE" sz="26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lang="de-DE" sz="2600" dirty="0">
                <a:solidFill>
                  <a:srgbClr val="FFFFFF"/>
                </a:solidFill>
              </a:endParaRPr>
            </a:p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de-DE" sz="26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lang="de-DE" sz="2600" dirty="0">
                <a:solidFill>
                  <a:srgbClr val="FFFFFF"/>
                </a:solidFill>
              </a:endParaRPr>
            </a:p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de-DE" sz="26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lang="de-DE" sz="2600" dirty="0">
                <a:solidFill>
                  <a:srgbClr val="FFFFFF"/>
                </a:solidFill>
              </a:endParaRPr>
            </a:p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de-DE" sz="26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39" name="Shape 38"/>
            <p:cNvSpPr/>
            <p:nvPr/>
          </p:nvSpPr>
          <p:spPr>
            <a:xfrm>
              <a:off x="3658404" y="723065"/>
              <a:ext cx="3263902" cy="320381"/>
            </a:xfrm>
            <a:prstGeom prst="roundRect">
              <a:avLst>
                <a:gd name="adj" fmla="val 20098"/>
              </a:avLst>
            </a:prstGeom>
            <a:solidFill>
              <a:srgbClr val="1D4BA8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lIns="0" tIns="0" rIns="0" bIns="0" anchor="ctr"/>
            <a:lstStyle/>
            <a:p>
              <a:pPr lvl="1" indent="0">
                <a:defRPr sz="1800"/>
              </a:pPr>
              <a:r>
                <a:rPr lang="en-GB" sz="2000" dirty="0" smtClean="0">
                  <a:solidFill>
                    <a:srgbClr val="FFFFFF"/>
                  </a:solidFill>
                  <a:latin typeface="Arial" panose="020B0604020202020204" pitchFamily="34" charset="0"/>
                  <a:ea typeface="Source Sans Pro"/>
                  <a:cs typeface="Arial" panose="020B0604020202020204" pitchFamily="34" charset="0"/>
                  <a:sym typeface="Source Sans Pro"/>
                </a:rPr>
                <a:t>Setup</a:t>
              </a:r>
              <a:endParaRPr sz="2000" dirty="0">
                <a:solidFill>
                  <a:srgbClr val="FFFFFF"/>
                </a:solidFill>
                <a:latin typeface="Arial" panose="020B0604020202020204" pitchFamily="34" charset="0"/>
                <a:ea typeface="Source Sans Pro"/>
                <a:cs typeface="Arial" panose="020B0604020202020204" pitchFamily="34" charset="0"/>
                <a:sym typeface="Source Sans Pro"/>
              </a:endParaRPr>
            </a:p>
          </p:txBody>
        </p:sp>
        <p:sp>
          <p:nvSpPr>
            <p:cNvPr id="40" name="Abgerundetes Rechteck 73"/>
            <p:cNvSpPr/>
            <p:nvPr/>
          </p:nvSpPr>
          <p:spPr>
            <a:xfrm>
              <a:off x="3809897" y="1170446"/>
              <a:ext cx="3003569" cy="9057042"/>
            </a:xfrm>
            <a:prstGeom prst="roundRect">
              <a:avLst>
                <a:gd name="adj" fmla="val 4902"/>
              </a:avLst>
            </a:prstGeom>
            <a:solidFill>
              <a:schemeClr val="bg1"/>
            </a:solidFill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4570" tIns="0" rIns="54570" bIns="0" numCol="1" spcCol="38100" rtlCol="0" anchor="t">
              <a:noAutofit/>
            </a:bodyPr>
            <a:lstStyle/>
            <a:p>
              <a:pPr lvl="0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1600" b="1" dirty="0" err="1" smtClean="0">
                  <a:solidFill>
                    <a:schemeClr val="bg1">
                      <a:lumMod val="65000"/>
                    </a:schemeClr>
                  </a:solidFill>
                  <a:latin typeface="Source Sans Pro"/>
                  <a:cs typeface="Arial" panose="020B0604020202020204" pitchFamily="34" charset="0"/>
                </a:rPr>
                <a:t>Preprocessing</a:t>
              </a:r>
              <a:r>
                <a:rPr lang="en-GB" sz="1600" b="1" dirty="0" smtClean="0">
                  <a:solidFill>
                    <a:schemeClr val="bg1">
                      <a:lumMod val="65000"/>
                    </a:schemeClr>
                  </a:solidFill>
                  <a:latin typeface="Source Sans Pro"/>
                  <a:cs typeface="Arial" panose="020B0604020202020204" pitchFamily="34" charset="0"/>
                </a:rPr>
                <a:t> data</a:t>
              </a:r>
              <a:endParaRPr lang="en-GB" sz="1000" dirty="0" smtClean="0">
                <a:solidFill>
                  <a:schemeClr val="bg1">
                    <a:lumMod val="65000"/>
                  </a:schemeClr>
                </a:solidFill>
                <a:latin typeface="Source Sans Pro"/>
                <a:cs typeface="Arial" panose="020B0604020202020204" pitchFamily="34" charset="0"/>
              </a:endParaRPr>
            </a:p>
            <a:p>
              <a:pPr lvl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createDummyFeatures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(</a:t>
              </a:r>
              <a:r>
                <a:rPr lang="en-GB" sz="800" dirty="0" err="1" smtClean="0">
                  <a:solidFill>
                    <a:schemeClr val="tx1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obj</a:t>
              </a:r>
              <a:r>
                <a:rPr lang="en-GB" sz="800" dirty="0" smtClean="0">
                  <a:solidFill>
                    <a:schemeClr val="tx1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=,</a:t>
              </a:r>
              <a:r>
                <a:rPr lang="en-GB" sz="800" dirty="0" smtClean="0">
                  <a:solidFill>
                    <a:schemeClr val="bg1">
                      <a:lumMod val="50000"/>
                    </a:schemeClr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target=</a:t>
              </a:r>
              <a:r>
                <a:rPr lang="en-GB" sz="800" dirty="0" smtClean="0">
                  <a:solidFill>
                    <a:schemeClr val="tx1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,</a:t>
              </a:r>
              <a:r>
                <a:rPr lang="en-GB" sz="800" dirty="0" smtClean="0">
                  <a:solidFill>
                    <a:schemeClr val="bg1">
                      <a:lumMod val="50000"/>
                    </a:schemeClr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method=</a:t>
              </a:r>
              <a:r>
                <a:rPr lang="en-GB" sz="800" dirty="0" smtClean="0">
                  <a:solidFill>
                    <a:schemeClr val="tx1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,</a:t>
              </a:r>
              <a:r>
                <a:rPr lang="en-GB" sz="800" dirty="0" smtClean="0">
                  <a:solidFill>
                    <a:schemeClr val="bg1">
                      <a:lumMod val="50000"/>
                    </a:schemeClr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cols=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)</a:t>
              </a:r>
            </a:p>
            <a:p>
              <a:pPr lvl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smtClean="0">
                  <a:latin typeface="Source Sans Pro"/>
                  <a:cs typeface="Courier New" panose="02070309020205020404" pitchFamily="49" charset="0"/>
                  <a:sym typeface="Menlo"/>
                </a:rPr>
                <a:t>Creates (0,1) flags for each non-numeric variable excluding </a:t>
              </a:r>
              <a:r>
                <a:rPr lang="en-GB" sz="800" dirty="0">
                  <a:solidFill>
                    <a:srgbClr val="0070C0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target</a:t>
              </a:r>
              <a:r>
                <a:rPr lang="en-GB" sz="800" dirty="0" smtClean="0">
                  <a:latin typeface="Source Sans Pro"/>
                  <a:cs typeface="Courier New" panose="02070309020205020404" pitchFamily="49" charset="0"/>
                  <a:sym typeface="Menlo"/>
                </a:rPr>
                <a:t>. Can be applied to entire dataset or only specific 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cols</a:t>
              </a:r>
              <a:endParaRPr lang="en-GB" sz="800" dirty="0" smtClean="0">
                <a:solidFill>
                  <a:srgbClr val="0070C0"/>
                </a:solidFill>
                <a:latin typeface="Source Sans Pro"/>
                <a:cs typeface="Courier New" panose="02070309020205020404" pitchFamily="49" charset="0"/>
                <a:sym typeface="Menlo"/>
              </a:endParaRPr>
            </a:p>
            <a:p>
              <a:pPr marL="971550" lvl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endParaRPr lang="en-GB" sz="800" dirty="0">
                <a:latin typeface="Source Sans Pro"/>
                <a:cs typeface="Courier New" panose="02070309020205020404" pitchFamily="49" charset="0"/>
                <a:sym typeface="Menlo"/>
              </a:endParaRPr>
            </a:p>
            <a:p>
              <a:pPr marL="3175" lvl="0" indent="-3175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normalizeFeatures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(</a:t>
              </a:r>
              <a:r>
                <a:rPr lang="en-GB" sz="800" dirty="0" err="1" smtClean="0">
                  <a:solidFill>
                    <a:schemeClr val="tx1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obj</a:t>
              </a:r>
              <a:r>
                <a:rPr lang="en-GB" sz="800" dirty="0" smtClean="0">
                  <a:solidFill>
                    <a:schemeClr val="tx1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=,</a:t>
              </a:r>
              <a:r>
                <a:rPr lang="en-GB" sz="800" dirty="0" smtClean="0">
                  <a:solidFill>
                    <a:schemeClr val="bg1">
                      <a:lumMod val="50000"/>
                    </a:schemeClr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target=</a:t>
              </a:r>
              <a:r>
                <a:rPr lang="en-GB" sz="800" dirty="0" smtClean="0">
                  <a:solidFill>
                    <a:schemeClr val="tx1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,</a:t>
              </a:r>
              <a:r>
                <a:rPr lang="en-GB" sz="800" dirty="0" smtClean="0">
                  <a:solidFill>
                    <a:schemeClr val="bg1">
                      <a:lumMod val="50000"/>
                    </a:schemeClr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method=</a:t>
              </a:r>
              <a:r>
                <a:rPr lang="en-GB" sz="800" dirty="0" smtClean="0">
                  <a:solidFill>
                    <a:schemeClr val="tx1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,</a:t>
              </a:r>
              <a:r>
                <a:rPr lang="en-GB" sz="800" dirty="0" smtClean="0">
                  <a:solidFill>
                    <a:schemeClr val="bg1">
                      <a:lumMod val="50000"/>
                    </a:schemeClr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cols=</a:t>
              </a:r>
              <a:r>
                <a:rPr lang="en-GB" sz="800" dirty="0" smtClean="0">
                  <a:solidFill>
                    <a:schemeClr val="tx1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,</a:t>
              </a:r>
            </a:p>
            <a:p>
              <a:pPr marL="3175" lvl="0" indent="-3175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smtClean="0">
                  <a:solidFill>
                    <a:schemeClr val="bg1">
                      <a:lumMod val="50000"/>
                    </a:schemeClr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range=</a:t>
              </a:r>
              <a:r>
                <a:rPr lang="en-GB" sz="800" dirty="0" smtClean="0">
                  <a:solidFill>
                    <a:schemeClr val="tx1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,</a:t>
              </a:r>
              <a:r>
                <a:rPr lang="en-GB" sz="800" dirty="0" err="1" smtClean="0">
                  <a:solidFill>
                    <a:schemeClr val="bg1">
                      <a:lumMod val="50000"/>
                    </a:schemeClr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on.constant</a:t>
              </a:r>
              <a:r>
                <a:rPr lang="en-GB" sz="800" dirty="0" smtClean="0">
                  <a:solidFill>
                    <a:schemeClr val="bg1">
                      <a:lumMod val="50000"/>
                    </a:schemeClr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=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)</a:t>
              </a:r>
            </a:p>
            <a:p>
              <a:pPr marL="3175" lvl="0" indent="-3175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smtClean="0">
                  <a:latin typeface="Source Sans Pro"/>
                  <a:cs typeface="Courier New" panose="02070309020205020404" pitchFamily="49" charset="0"/>
                  <a:sym typeface="Menlo"/>
                </a:rPr>
                <a:t>Normalizes numerical features according to specified 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method</a:t>
              </a:r>
              <a:r>
                <a:rPr lang="en-GB" sz="800" dirty="0" smtClean="0"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:</a:t>
              </a:r>
            </a:p>
            <a:p>
              <a:pPr marL="114300" lvl="0" indent="-114300" algn="l">
                <a:buClr>
                  <a:srgbClr val="1D4BA8"/>
                </a:buClr>
                <a:buFont typeface="Arial" panose="020B0604020202020204" pitchFamily="34" charset="0"/>
                <a:buChar char="•"/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"</a:t>
              </a: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center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"</a:t>
              </a:r>
              <a:r>
                <a:rPr lang="en-GB" sz="800" dirty="0" smtClean="0">
                  <a:latin typeface="Source Sans Pro"/>
                  <a:cs typeface="Courier New" panose="02070309020205020404" pitchFamily="49" charset="0"/>
                  <a:sym typeface="Menlo"/>
                </a:rPr>
                <a:t> (subtract mean)</a:t>
              </a:r>
            </a:p>
            <a:p>
              <a:pPr marL="114300" lvl="0" indent="-114300" algn="l">
                <a:buClr>
                  <a:srgbClr val="1D4BA8"/>
                </a:buClr>
                <a:buFont typeface="Arial" panose="020B0604020202020204" pitchFamily="34" charset="0"/>
                <a:buChar char="•"/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"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scale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"</a:t>
              </a:r>
              <a:r>
                <a:rPr lang="en-GB" sz="800" dirty="0" smtClean="0">
                  <a:latin typeface="Source Sans Pro"/>
                  <a:cs typeface="Courier New" panose="02070309020205020404" pitchFamily="49" charset="0"/>
                  <a:sym typeface="Menlo"/>
                </a:rPr>
                <a:t> (divide by std. deviation)</a:t>
              </a:r>
            </a:p>
            <a:p>
              <a:pPr marL="114300" lvl="0" indent="-114300" algn="l">
                <a:buClr>
                  <a:srgbClr val="1D4BA8"/>
                </a:buClr>
                <a:buFont typeface="Arial" panose="020B0604020202020204" pitchFamily="34" charset="0"/>
                <a:buChar char="•"/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"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standardize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"</a:t>
              </a:r>
              <a:r>
                <a:rPr lang="en-GB" sz="800" dirty="0" smtClean="0">
                  <a:latin typeface="Source Sans Pro"/>
                  <a:cs typeface="Courier New" panose="02070309020205020404" pitchFamily="49" charset="0"/>
                  <a:sym typeface="Menlo"/>
                </a:rPr>
                <a:t> (</a:t>
              </a:r>
              <a:r>
                <a:rPr lang="en-GB" sz="800" dirty="0" err="1" smtClean="0">
                  <a:latin typeface="Source Sans Pro"/>
                  <a:cs typeface="Courier New" panose="02070309020205020404" pitchFamily="49" charset="0"/>
                  <a:sym typeface="Menlo"/>
                </a:rPr>
                <a:t>center</a:t>
              </a:r>
              <a:r>
                <a:rPr lang="en-GB" sz="800" dirty="0" smtClean="0">
                  <a:latin typeface="Source Sans Pro"/>
                  <a:cs typeface="Courier New" panose="02070309020205020404" pitchFamily="49" charset="0"/>
                  <a:sym typeface="Menlo"/>
                </a:rPr>
                <a:t> and scale)</a:t>
              </a:r>
            </a:p>
            <a:p>
              <a:pPr marL="114300" lvl="0" indent="-114300" algn="l">
                <a:buClr>
                  <a:srgbClr val="1D4BA8"/>
                </a:buClr>
                <a:buFont typeface="Arial" panose="020B0604020202020204" pitchFamily="34" charset="0"/>
                <a:buChar char="•"/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"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range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"</a:t>
              </a:r>
              <a:r>
                <a:rPr lang="en-GB" sz="800" dirty="0" smtClean="0">
                  <a:latin typeface="Source Sans Pro"/>
                  <a:cs typeface="Courier New" panose="02070309020205020404" pitchFamily="49" charset="0"/>
                  <a:sym typeface="Menlo"/>
                </a:rPr>
                <a:t> (linear scale to given range, default 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range=c(0,1)</a:t>
              </a:r>
              <a:r>
                <a:rPr lang="en-GB" sz="800" dirty="0" smtClean="0">
                  <a:latin typeface="Source Sans Pro"/>
                  <a:cs typeface="Courier New" panose="02070309020205020404" pitchFamily="49" charset="0"/>
                  <a:sym typeface="Menlo"/>
                </a:rPr>
                <a:t>)</a:t>
              </a:r>
            </a:p>
            <a:p>
              <a:pPr lvl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endParaRPr lang="en-GB" sz="800" dirty="0" smtClean="0">
                <a:latin typeface="Source Sans Pro"/>
                <a:cs typeface="Courier New" panose="02070309020205020404" pitchFamily="49" charset="0"/>
                <a:sym typeface="Menlo"/>
              </a:endParaRPr>
            </a:p>
            <a:p>
              <a:pPr lvl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spc="-10" dirty="0" err="1" smtClean="0">
                  <a:solidFill>
                    <a:srgbClr val="0070C0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mergeSmallFactorLevels</a:t>
              </a:r>
              <a:r>
                <a:rPr lang="en-GB" sz="800" spc="-10" dirty="0" smtClean="0">
                  <a:solidFill>
                    <a:srgbClr val="0070C0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(</a:t>
              </a:r>
              <a:r>
                <a:rPr lang="en-GB" sz="800" spc="-10" dirty="0" smtClean="0">
                  <a:solidFill>
                    <a:schemeClr val="tx1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task=,</a:t>
              </a:r>
              <a:r>
                <a:rPr lang="en-GB" sz="800" spc="-10" dirty="0" smtClean="0">
                  <a:solidFill>
                    <a:schemeClr val="bg1">
                      <a:lumMod val="50000"/>
                    </a:schemeClr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cols=</a:t>
              </a:r>
              <a:r>
                <a:rPr lang="en-GB" sz="800" spc="-10" dirty="0" smtClean="0">
                  <a:solidFill>
                    <a:schemeClr val="tx1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,</a:t>
              </a:r>
              <a:r>
                <a:rPr lang="en-GB" sz="800" spc="-10" dirty="0" err="1" smtClean="0">
                  <a:solidFill>
                    <a:schemeClr val="bg1">
                      <a:lumMod val="50000"/>
                    </a:schemeClr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min.perc</a:t>
              </a:r>
              <a:r>
                <a:rPr lang="en-GB" sz="800" spc="-10" dirty="0" smtClean="0">
                  <a:solidFill>
                    <a:schemeClr val="bg1">
                      <a:lumMod val="50000"/>
                    </a:schemeClr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=</a:t>
              </a:r>
              <a:r>
                <a:rPr lang="en-GB" sz="800" spc="-10" dirty="0" smtClean="0">
                  <a:solidFill>
                    <a:srgbClr val="0070C0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)</a:t>
              </a:r>
            </a:p>
            <a:p>
              <a:pPr lvl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spc="-1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Combine infrequent factor levels into a single merged level</a:t>
              </a:r>
              <a:endParaRPr lang="en-GB" sz="800" spc="-10" dirty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endParaRPr>
            </a:p>
            <a:p>
              <a:pPr lvl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endParaRPr lang="en-GB" sz="800" dirty="0">
                <a:latin typeface="Source Sans Pro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endParaRPr>
            </a:p>
            <a:p>
              <a:pPr lvl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spc="-1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summarizeColumns</a:t>
              </a:r>
              <a:r>
                <a:rPr lang="en-GB" sz="800" spc="-1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(</a:t>
              </a:r>
              <a:r>
                <a:rPr lang="en-GB" sz="800" spc="-10" dirty="0" err="1" smtClean="0">
                  <a:solidFill>
                    <a:schemeClr val="tx1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obj</a:t>
              </a:r>
              <a:r>
                <a:rPr lang="en-GB" sz="800" spc="-10" dirty="0" smtClean="0">
                  <a:solidFill>
                    <a:schemeClr val="tx1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=</a:t>
              </a:r>
              <a:r>
                <a:rPr lang="en-GB" sz="800" spc="-1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)</a:t>
              </a:r>
              <a:r>
                <a:rPr lang="en-GB" sz="800" dirty="0" smtClean="0">
                  <a:latin typeface="Source Sans Pro"/>
                  <a:cs typeface="Courier New" panose="02070309020205020404" pitchFamily="49" charset="0"/>
                  <a:sym typeface="Menlo"/>
                </a:rPr>
                <a:t> where </a:t>
              </a: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obj</a:t>
              </a:r>
              <a:r>
                <a:rPr lang="en-GB" sz="800" dirty="0" smtClean="0">
                  <a:latin typeface="Source Sans Pro"/>
                  <a:cs typeface="Courier New" panose="02070309020205020404" pitchFamily="49" charset="0"/>
                  <a:sym typeface="Menlo"/>
                </a:rPr>
                <a:t> is a </a:t>
              </a:r>
              <a:r>
                <a:rPr lang="en-GB" sz="800" dirty="0" err="1" smtClean="0">
                  <a:latin typeface="Source Sans Pro"/>
                  <a:cs typeface="Courier New" panose="02070309020205020404" pitchFamily="49" charset="0"/>
                  <a:sym typeface="Menlo"/>
                </a:rPr>
                <a:t>data.frame</a:t>
              </a:r>
              <a:r>
                <a:rPr lang="en-GB" sz="800" dirty="0" smtClean="0">
                  <a:latin typeface="Source Sans Pro"/>
                  <a:cs typeface="Courier New" panose="02070309020205020404" pitchFamily="49" charset="0"/>
                  <a:sym typeface="Menlo"/>
                </a:rPr>
                <a:t> or task.</a:t>
              </a:r>
            </a:p>
            <a:p>
              <a:pPr lvl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smtClean="0">
                  <a:latin typeface="Source Sans Pro"/>
                  <a:cs typeface="Courier New" panose="02070309020205020404" pitchFamily="49" charset="0"/>
                  <a:sym typeface="Menlo"/>
                </a:rPr>
                <a:t>Provides type, NA, and distributional data about each column</a:t>
              </a:r>
            </a:p>
            <a:p>
              <a:pPr lvl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endParaRPr lang="en-GB" sz="800" spc="-10" dirty="0" smtClean="0">
                <a:latin typeface="Source Sans Pro"/>
                <a:cs typeface="Courier New" panose="02070309020205020404" pitchFamily="49" charset="0"/>
                <a:sym typeface="Menlo"/>
              </a:endParaRPr>
            </a:p>
            <a:p>
              <a:pPr lvl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spc="-10" dirty="0" smtClean="0">
                  <a:latin typeface="Source Sans Pro"/>
                  <a:cs typeface="Courier New" panose="02070309020205020404" pitchFamily="49" charset="0"/>
                  <a:sym typeface="Menlo"/>
                </a:rPr>
                <a:t>See also</a:t>
              </a:r>
              <a:r>
                <a:rPr lang="en-GB" sz="1000" spc="-10" dirty="0" smtClean="0">
                  <a:solidFill>
                    <a:srgbClr val="0070C0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 </a:t>
              </a:r>
              <a:r>
                <a:rPr lang="en-GB" sz="800" spc="-10" dirty="0" err="1" smtClean="0">
                  <a:solidFill>
                    <a:srgbClr val="0070C0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capLargeValues</a:t>
              </a:r>
              <a:r>
                <a:rPr lang="en-GB" sz="800" spc="-10" dirty="0" smtClean="0">
                  <a:solidFill>
                    <a:srgbClr val="0070C0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 </a:t>
              </a:r>
              <a:r>
                <a:rPr lang="en-GB" sz="800" spc="-10" dirty="0" err="1" smtClean="0">
                  <a:solidFill>
                    <a:srgbClr val="0070C0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dropFeatures</a:t>
              </a:r>
              <a:r>
                <a:rPr lang="en-GB" sz="800" spc="-10" dirty="0">
                  <a:solidFill>
                    <a:srgbClr val="0070C0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 </a:t>
              </a:r>
              <a:r>
                <a:rPr lang="en-GB" sz="800" spc="-10" dirty="0" err="1" smtClean="0">
                  <a:solidFill>
                    <a:srgbClr val="0070C0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removeConstantFeatures</a:t>
              </a:r>
              <a:r>
                <a:rPr lang="en-GB" sz="800" spc="-10" dirty="0" smtClean="0">
                  <a:solidFill>
                    <a:srgbClr val="0070C0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 </a:t>
              </a:r>
              <a:r>
                <a:rPr lang="en-GB" sz="800" spc="-10" dirty="0" err="1" smtClean="0">
                  <a:solidFill>
                    <a:srgbClr val="0070C0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summarizeLevels</a:t>
              </a:r>
              <a:endParaRPr lang="en-GB" sz="800" spc="-10" dirty="0">
                <a:latin typeface="Source Sans Pro"/>
                <a:cs typeface="Courier New" panose="02070309020205020404" pitchFamily="49" charset="0"/>
                <a:sym typeface="Menlo"/>
              </a:endParaRPr>
            </a:p>
            <a:p>
              <a:pPr lvl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endParaRPr lang="en-GB" sz="1000" dirty="0" smtClean="0">
                <a:latin typeface="Consolas" panose="020B0609020204030204" pitchFamily="49" charset="0"/>
                <a:cs typeface="Courier New" panose="02070309020205020404" pitchFamily="49" charset="0"/>
                <a:sym typeface="Menlo"/>
              </a:endParaRPr>
            </a:p>
            <a:p>
              <a:pPr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1600" b="1" dirty="0" smtClean="0">
                  <a:solidFill>
                    <a:schemeClr val="bg1">
                      <a:lumMod val="65000"/>
                    </a:schemeClr>
                  </a:solidFill>
                  <a:latin typeface="Source Sans Pro"/>
                  <a:cs typeface="Arial" panose="020B0604020202020204" pitchFamily="34" charset="0"/>
                </a:rPr>
                <a:t>Creating a task</a:t>
              </a:r>
              <a:endParaRPr lang="en-GB" sz="1000" dirty="0">
                <a:solidFill>
                  <a:schemeClr val="bg1">
                    <a:lumMod val="65000"/>
                  </a:schemeClr>
                </a:solidFill>
                <a:latin typeface="Source Sans Pro"/>
                <a:cs typeface="Arial" panose="020B0604020202020204" pitchFamily="34" charset="0"/>
              </a:endParaRPr>
            </a:p>
            <a:p>
              <a:pPr marL="974725" lvl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makeClassifTask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(</a:t>
              </a:r>
              <a:r>
                <a:rPr lang="en-GB" sz="800" dirty="0" smtClean="0">
                  <a:solidFill>
                    <a:schemeClr val="tx1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data=,target=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)</a:t>
              </a:r>
            </a:p>
            <a:p>
              <a:pPr marL="974725" lvl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smtClean="0">
                  <a:latin typeface="Source Sans Pro"/>
                  <a:cs typeface="Courier New" panose="02070309020205020404" pitchFamily="49" charset="0"/>
                  <a:sym typeface="Menlo"/>
                </a:rPr>
                <a:t>Classification of a target variable, with optional positive class 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positive</a:t>
              </a:r>
            </a:p>
            <a:p>
              <a:pPr marL="974725" lvl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endParaRPr lang="en-GB" sz="800" dirty="0">
                <a:latin typeface="Consolas" panose="020B0609020204030204" pitchFamily="49" charset="0"/>
                <a:cs typeface="Courier New" panose="02070309020205020404" pitchFamily="49" charset="0"/>
                <a:sym typeface="Menlo"/>
              </a:endParaRPr>
            </a:p>
            <a:p>
              <a:pPr marL="974725" lvl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makeRegrTask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(</a:t>
              </a:r>
              <a:r>
                <a:rPr lang="en-GB" sz="800" dirty="0" smtClean="0">
                  <a:solidFill>
                    <a:schemeClr val="tx1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data=</a:t>
              </a:r>
              <a:r>
                <a:rPr lang="en-GB" sz="800" dirty="0" smtClean="0">
                  <a:solidFill>
                    <a:schemeClr val="bg1">
                      <a:lumMod val="50000"/>
                    </a:schemeClr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,</a:t>
              </a:r>
              <a:r>
                <a:rPr lang="en-GB" sz="800" dirty="0" smtClean="0">
                  <a:solidFill>
                    <a:schemeClr val="tx1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target=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)</a:t>
              </a:r>
            </a:p>
            <a:p>
              <a:pPr marL="974725" lvl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smtClean="0">
                  <a:latin typeface="Source Sans Pro"/>
                  <a:cs typeface="Courier New" panose="02070309020205020404" pitchFamily="49" charset="0"/>
                  <a:sym typeface="Menlo"/>
                </a:rPr>
                <a:t>Regression on a target variable</a:t>
              </a:r>
            </a:p>
            <a:p>
              <a:pPr marL="974725" lvl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endParaRPr lang="en-GB" sz="800" dirty="0">
                <a:latin typeface="Source Sans Pro"/>
                <a:cs typeface="Courier New" panose="02070309020205020404" pitchFamily="49" charset="0"/>
                <a:sym typeface="Menlo"/>
              </a:endParaRPr>
            </a:p>
            <a:p>
              <a:pPr marL="974725" lvl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spc="-20" dirty="0" err="1" smtClean="0">
                  <a:solidFill>
                    <a:srgbClr val="0070C0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makeMultilabelTask</a:t>
              </a:r>
              <a:r>
                <a:rPr lang="en-GB" sz="800" spc="-20" dirty="0" smtClean="0">
                  <a:solidFill>
                    <a:srgbClr val="0070C0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(</a:t>
              </a:r>
              <a:r>
                <a:rPr lang="en-GB" sz="800" spc="-20" dirty="0" smtClean="0">
                  <a:solidFill>
                    <a:schemeClr val="tx1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data=,target=</a:t>
              </a:r>
              <a:r>
                <a:rPr lang="en-GB" sz="800" spc="-20" dirty="0" smtClean="0">
                  <a:solidFill>
                    <a:srgbClr val="0070C0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)</a:t>
              </a:r>
            </a:p>
            <a:p>
              <a:pPr marL="974725" lvl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smtClean="0">
                  <a:latin typeface="Source Sans Pro"/>
                  <a:cs typeface="Courier New" panose="02070309020205020404" pitchFamily="49" charset="0"/>
                  <a:sym typeface="Menlo"/>
                </a:rPr>
                <a:t>Classification where the target can belong to more than one class per observation</a:t>
              </a:r>
            </a:p>
            <a:p>
              <a:pPr marL="974725" lvl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endParaRPr lang="en-GB" sz="800" dirty="0">
                <a:latin typeface="Source Sans Pro"/>
                <a:cs typeface="Courier New" panose="02070309020205020404" pitchFamily="49" charset="0"/>
                <a:sym typeface="Menlo"/>
              </a:endParaRPr>
            </a:p>
            <a:p>
              <a:pPr marL="974725" lvl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makeClusterTask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(</a:t>
              </a:r>
              <a:r>
                <a:rPr lang="en-GB" sz="800" dirty="0" smtClean="0">
                  <a:solidFill>
                    <a:schemeClr val="tx1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data=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)</a:t>
              </a:r>
            </a:p>
            <a:p>
              <a:pPr marL="974725" lvl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smtClean="0">
                  <a:latin typeface="Source Sans Pro"/>
                  <a:cs typeface="Courier New" panose="02070309020205020404" pitchFamily="49" charset="0"/>
                  <a:sym typeface="Menlo"/>
                </a:rPr>
                <a:t>Unsupervised clustering on a data set</a:t>
              </a:r>
            </a:p>
            <a:p>
              <a:pPr marL="974725" lvl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endParaRPr lang="en-GB" sz="800" dirty="0">
                <a:latin typeface="Source Sans Pro"/>
                <a:cs typeface="Courier New" panose="02070309020205020404" pitchFamily="49" charset="0"/>
                <a:sym typeface="Menlo"/>
              </a:endParaRPr>
            </a:p>
            <a:p>
              <a:pPr marL="974725" lvl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makeSurvTask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(</a:t>
              </a:r>
              <a:r>
                <a:rPr lang="en-GB" sz="800" dirty="0" smtClean="0">
                  <a:solidFill>
                    <a:schemeClr val="tx1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data=,target=</a:t>
              </a:r>
              <a:br>
                <a:rPr lang="en-GB" sz="800" dirty="0" smtClean="0">
                  <a:solidFill>
                    <a:schemeClr val="tx1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</a:br>
              <a:r>
                <a:rPr lang="en-GB" sz="800" dirty="0" smtClean="0">
                  <a:solidFill>
                    <a:schemeClr val="tx1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c(</a:t>
              </a:r>
              <a:r>
                <a:rPr lang="en-GB" sz="800" dirty="0" smtClean="0">
                  <a:solidFill>
                    <a:schemeClr val="tx1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"</a:t>
              </a:r>
              <a:r>
                <a:rPr lang="en-GB" sz="800" dirty="0" err="1" smtClean="0">
                  <a:solidFill>
                    <a:schemeClr val="tx1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time</a:t>
              </a:r>
              <a:r>
                <a:rPr lang="en-GB" sz="800" dirty="0" err="1" smtClean="0">
                  <a:solidFill>
                    <a:schemeClr val="tx1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"</a:t>
              </a:r>
              <a:r>
                <a:rPr lang="en-GB" sz="800" dirty="0" err="1" smtClean="0">
                  <a:solidFill>
                    <a:schemeClr val="tx1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,</a:t>
              </a:r>
              <a:r>
                <a:rPr lang="en-GB" sz="800" dirty="0" err="1" smtClean="0">
                  <a:solidFill>
                    <a:schemeClr val="tx1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"</a:t>
              </a:r>
              <a:r>
                <a:rPr lang="en-GB" sz="800" dirty="0" err="1" smtClean="0">
                  <a:solidFill>
                    <a:schemeClr val="tx1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event</a:t>
              </a:r>
              <a:r>
                <a:rPr lang="en-GB" sz="800" dirty="0" smtClean="0">
                  <a:solidFill>
                    <a:schemeClr val="tx1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"</a:t>
              </a:r>
              <a:r>
                <a:rPr lang="en-GB" sz="800" dirty="0" smtClean="0">
                  <a:solidFill>
                    <a:schemeClr val="tx1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)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)</a:t>
              </a:r>
            </a:p>
            <a:p>
              <a:pPr marL="974725" lvl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smtClean="0">
                  <a:latin typeface="Source Sans Pro"/>
                  <a:cs typeface="Courier New" panose="02070309020205020404" pitchFamily="49" charset="0"/>
                  <a:sym typeface="Menlo"/>
                </a:rPr>
                <a:t>Survival analysis with a survival time column and an event column</a:t>
              </a:r>
            </a:p>
            <a:p>
              <a:pPr marL="974725" lvl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endParaRPr lang="en-GB" sz="800" dirty="0">
                <a:latin typeface="Source Sans Pro"/>
                <a:cs typeface="Courier New" panose="02070309020205020404" pitchFamily="49" charset="0"/>
                <a:sym typeface="Menlo"/>
              </a:endParaRPr>
            </a:p>
            <a:p>
              <a:pPr marL="974725" lvl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makeCostSensTask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(</a:t>
              </a:r>
              <a:r>
                <a:rPr lang="en-GB" sz="800" dirty="0" smtClean="0">
                  <a:solidFill>
                    <a:schemeClr val="tx1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data=,costs=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)</a:t>
              </a:r>
            </a:p>
            <a:p>
              <a:pPr marL="974725" lvl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smtClean="0">
                  <a:latin typeface="Source Sans Pro"/>
                  <a:cs typeface="Courier New" panose="02070309020205020404" pitchFamily="49" charset="0"/>
                  <a:sym typeface="Menlo"/>
                </a:rPr>
                <a:t>Cost-sensitive classification where each observation-cost pair has a specified cost</a:t>
              </a:r>
            </a:p>
            <a:p>
              <a:pPr marL="974725" lvl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endParaRPr lang="en-GB" sz="800" dirty="0">
                <a:latin typeface="Source Sans Pro"/>
                <a:cs typeface="Courier New" panose="02070309020205020404" pitchFamily="49" charset="0"/>
                <a:sym typeface="Menlo"/>
              </a:endParaRPr>
            </a:p>
            <a:p>
              <a:pPr lvl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smtClean="0">
                  <a:latin typeface="Source Sans Pro"/>
                  <a:cs typeface="Courier New" panose="02070309020205020404" pitchFamily="49" charset="0"/>
                  <a:sym typeface="Menlo"/>
                </a:rPr>
                <a:t>Other arguments that can be passed to a 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task</a:t>
              </a:r>
              <a:r>
                <a:rPr lang="en-GB" sz="800" dirty="0" smtClean="0">
                  <a:latin typeface="Source Sans Pro"/>
                  <a:cs typeface="Courier New" panose="02070309020205020404" pitchFamily="49" charset="0"/>
                  <a:sym typeface="Menlo"/>
                </a:rPr>
                <a:t>:</a:t>
              </a:r>
            </a:p>
            <a:p>
              <a:pPr marL="114300" lvl="0" indent="-114300" algn="l">
                <a:buClr>
                  <a:srgbClr val="1D4BA8"/>
                </a:buClr>
                <a:buFont typeface="Arial" panose="020B0604020202020204" pitchFamily="34" charset="0"/>
                <a:buChar char="•"/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weights=</a:t>
              </a:r>
              <a:r>
                <a:rPr lang="en-GB" sz="800" dirty="0" smtClean="0">
                  <a:latin typeface="Source Sans Pro"/>
                  <a:cs typeface="Courier New" panose="02070309020205020404" pitchFamily="49" charset="0"/>
                  <a:sym typeface="Menlo"/>
                </a:rPr>
                <a:t> Weighting vector to apply to observations</a:t>
              </a:r>
            </a:p>
            <a:p>
              <a:pPr marL="114300" lvl="0" indent="-114300" algn="l">
                <a:buClr>
                  <a:srgbClr val="1D4BA8"/>
                </a:buClr>
                <a:buFont typeface="Arial" panose="020B0604020202020204" pitchFamily="34" charset="0"/>
                <a:buChar char="•"/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blocking=</a:t>
              </a:r>
              <a:r>
                <a:rPr lang="en-GB" sz="800" dirty="0" smtClean="0">
                  <a:latin typeface="Source Sans Pro"/>
                  <a:cs typeface="Courier New" panose="02070309020205020404" pitchFamily="49" charset="0"/>
                  <a:sym typeface="Menlo"/>
                </a:rPr>
                <a:t> Factor vector where each level indicates a block of observations that will not be split up in resampling</a:t>
              </a:r>
            </a:p>
            <a:p>
              <a:pPr marL="974725" lvl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endParaRPr lang="en-GB" sz="800" dirty="0" smtClean="0">
                <a:latin typeface="Source Sans Pro"/>
                <a:cs typeface="Courier New" panose="02070309020205020404" pitchFamily="49" charset="0"/>
                <a:sym typeface="Menlo"/>
              </a:endParaRPr>
            </a:p>
            <a:p>
              <a:pPr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1600" b="1" dirty="0" smtClean="0">
                  <a:solidFill>
                    <a:schemeClr val="bg1">
                      <a:lumMod val="65000"/>
                    </a:schemeClr>
                  </a:solidFill>
                  <a:latin typeface="Source Sans Pro"/>
                  <a:cs typeface="Arial" panose="020B0604020202020204" pitchFamily="34" charset="0"/>
                </a:rPr>
                <a:t>Making a learner</a:t>
              </a:r>
              <a:endParaRPr lang="en-GB" sz="800" dirty="0" smtClean="0">
                <a:latin typeface="Consolas" panose="020B0609020204030204" pitchFamily="49" charset="0"/>
                <a:cs typeface="Courier New" panose="02070309020205020404" pitchFamily="49" charset="0"/>
                <a:sym typeface="Menlo"/>
              </a:endParaRPr>
            </a:p>
            <a:p>
              <a:pPr lvl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spc="-20" dirty="0" err="1" smtClean="0">
                  <a:solidFill>
                    <a:srgbClr val="0070C0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makeLearner</a:t>
              </a:r>
              <a:r>
                <a:rPr lang="en-GB" sz="800" spc="-20" dirty="0" smtClean="0">
                  <a:solidFill>
                    <a:srgbClr val="0070C0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(</a:t>
              </a:r>
              <a:r>
                <a:rPr lang="en-GB" sz="800" spc="-20" dirty="0" smtClean="0">
                  <a:solidFill>
                    <a:schemeClr val="tx1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cl=,</a:t>
              </a:r>
              <a:r>
                <a:rPr lang="en-GB" sz="800" spc="-20" dirty="0" err="1" smtClean="0">
                  <a:solidFill>
                    <a:schemeClr val="bg1">
                      <a:lumMod val="50000"/>
                    </a:schemeClr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predict.type</a:t>
              </a:r>
              <a:r>
                <a:rPr lang="en-GB" sz="800" spc="-20" dirty="0" smtClean="0">
                  <a:solidFill>
                    <a:schemeClr val="bg1">
                      <a:lumMod val="50000"/>
                    </a:schemeClr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=</a:t>
              </a:r>
              <a:r>
                <a:rPr lang="en-GB" sz="800" spc="-20" dirty="0" smtClean="0">
                  <a:solidFill>
                    <a:schemeClr val="tx1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,</a:t>
              </a:r>
              <a:r>
                <a:rPr lang="en-GB" sz="800" spc="-20" dirty="0" smtClean="0">
                  <a:solidFill>
                    <a:schemeClr val="bg1">
                      <a:lumMod val="65000"/>
                    </a:schemeClr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...</a:t>
              </a:r>
              <a:r>
                <a:rPr lang="en-GB" sz="800" spc="-20" dirty="0" smtClean="0">
                  <a:solidFill>
                    <a:schemeClr val="tx1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,</a:t>
              </a:r>
              <a:r>
                <a:rPr lang="en-GB" sz="800" spc="-20" dirty="0" err="1" smtClean="0">
                  <a:solidFill>
                    <a:schemeClr val="bg1">
                      <a:lumMod val="50000"/>
                    </a:schemeClr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par.vals</a:t>
              </a:r>
              <a:r>
                <a:rPr lang="en-GB" sz="800" spc="-20" dirty="0" smtClean="0">
                  <a:solidFill>
                    <a:schemeClr val="bg1">
                      <a:lumMod val="50000"/>
                    </a:schemeClr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=</a:t>
              </a:r>
              <a:r>
                <a:rPr lang="en-GB" sz="800" spc="-20" dirty="0" smtClean="0">
                  <a:solidFill>
                    <a:srgbClr val="0070C0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)</a:t>
              </a:r>
            </a:p>
            <a:p>
              <a:pPr lvl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smtClean="0">
                  <a:latin typeface="Source Sans Pro"/>
                  <a:cs typeface="Courier New" panose="02070309020205020404" pitchFamily="49" charset="0"/>
                  <a:sym typeface="Menlo"/>
                </a:rPr>
                <a:t>Choose an algorithm class to perform the task and determine what that algorithm will predict</a:t>
              </a:r>
            </a:p>
            <a:p>
              <a:pPr marL="171450" lvl="0" indent="-171450" algn="l">
                <a:buClr>
                  <a:srgbClr val="1D4BA8"/>
                </a:buClr>
                <a:buFont typeface="Arial" panose="020B0604020202020204" pitchFamily="34" charset="0"/>
                <a:buChar char="•"/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cl=</a:t>
              </a:r>
              <a:r>
                <a:rPr lang="en-GB" sz="800" dirty="0" smtClean="0">
                  <a:latin typeface="Source Sans Pro"/>
                  <a:cs typeface="Courier New" panose="02070309020205020404" pitchFamily="49" charset="0"/>
                  <a:sym typeface="Menlo"/>
                </a:rPr>
                <a:t>name of algorithm, e.g. 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"</a:t>
              </a: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classif.xgboost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" 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 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"</a:t>
              </a: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regr.randomForest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"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 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"</a:t>
              </a: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cluster.kmeans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"</a:t>
              </a:r>
              <a:endParaRPr lang="en-GB" sz="800" dirty="0" smtClean="0">
                <a:solidFill>
                  <a:srgbClr val="0070C0"/>
                </a:solidFill>
                <a:latin typeface="Consolas" panose="020B0609020204030204" pitchFamily="49" charset="0"/>
                <a:cs typeface="Courier New" panose="02070309020205020404" pitchFamily="49" charset="0"/>
                <a:sym typeface="Menlo"/>
              </a:endParaRPr>
            </a:p>
            <a:p>
              <a:pPr marL="171450" lvl="0" indent="-171450" algn="l">
                <a:buClr>
                  <a:srgbClr val="1D4BA8"/>
                </a:buClr>
                <a:buFont typeface="Arial" panose="020B0604020202020204" pitchFamily="34" charset="0"/>
                <a:buChar char="•"/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predict.type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=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"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response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"</a:t>
              </a:r>
              <a:r>
                <a:rPr lang="en-GB" sz="800" dirty="0" smtClean="0">
                  <a:latin typeface="Source Sans Pro"/>
                  <a:cs typeface="Courier New" panose="02070309020205020404" pitchFamily="49" charset="0"/>
                  <a:sym typeface="Menlo"/>
                </a:rPr>
                <a:t> returns a prediction type that matches the source data; 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"</a:t>
              </a: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prob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"</a:t>
              </a:r>
              <a:r>
                <a:rPr lang="en-GB" sz="800" dirty="0" smtClean="0">
                  <a:latin typeface="Source Sans Pro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 </a:t>
              </a:r>
              <a:r>
                <a:rPr lang="en-GB" sz="800" dirty="0" smtClean="0">
                  <a:latin typeface="Source Sans Pro"/>
                  <a:cs typeface="Courier New" panose="02070309020205020404" pitchFamily="49" charset="0"/>
                  <a:sym typeface="Menlo"/>
                </a:rPr>
                <a:t>returns a predicted probability for classification problems only; 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"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se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"</a:t>
              </a:r>
              <a:r>
                <a:rPr lang="en-GB" sz="800" dirty="0" smtClean="0">
                  <a:latin typeface="Source Sans Pro"/>
                  <a:cs typeface="Courier New" panose="02070309020205020404" pitchFamily="49" charset="0"/>
                  <a:sym typeface="Menlo"/>
                </a:rPr>
                <a:t> returns the a standard error of the prediction for regression problems only. Only certain learners can return 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"</a:t>
              </a: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prob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"</a:t>
              </a:r>
              <a:r>
                <a:rPr lang="en-GB" sz="800" dirty="0" smtClean="0">
                  <a:latin typeface="Source Sans Pro"/>
                  <a:cs typeface="Courier New" panose="02070309020205020404" pitchFamily="49" charset="0"/>
                  <a:sym typeface="Menlo"/>
                </a:rPr>
                <a:t> and 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"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se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"</a:t>
              </a:r>
              <a:endParaRPr lang="en-GB" sz="800" dirty="0" smtClean="0">
                <a:latin typeface="Source Sans Pro"/>
                <a:cs typeface="Courier New" panose="02070309020205020404" pitchFamily="49" charset="0"/>
                <a:sym typeface="Menlo"/>
              </a:endParaRPr>
            </a:p>
            <a:p>
              <a:pPr marL="171450" lvl="0" indent="-171450" algn="l">
                <a:buClr>
                  <a:srgbClr val="1D4BA8"/>
                </a:buClr>
                <a:buFont typeface="Arial" panose="020B0604020202020204" pitchFamily="34" charset="0"/>
                <a:buChar char="•"/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par.vals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=</a:t>
              </a:r>
              <a:r>
                <a:rPr lang="en-GB" sz="800" dirty="0" smtClean="0">
                  <a:solidFill>
                    <a:srgbClr val="0070C0"/>
                  </a:solidFill>
                  <a:latin typeface="Source Sans Pro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 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takes a list of </a:t>
              </a:r>
              <a:r>
                <a:rPr lang="en-GB" sz="800" dirty="0" err="1" smtClean="0">
                  <a:solidFill>
                    <a:schemeClr val="tx1"/>
                  </a:solidFill>
                  <a:latin typeface="Source Sans Pro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hyperparameters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 and passes them to the learner; parameters can also be passed directly (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...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)</a:t>
              </a:r>
              <a:endParaRPr lang="en-GB" sz="800" dirty="0" smtClean="0">
                <a:solidFill>
                  <a:schemeClr val="tx1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Arial" panose="020B0604020202020204" pitchFamily="34" charset="0"/>
              </a:endParaRPr>
            </a:p>
            <a:p>
              <a:pPr lvl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smtClean="0">
                  <a:latin typeface="Source Sans Pro"/>
                  <a:cs typeface="Courier New" panose="02070309020205020404" pitchFamily="49" charset="0"/>
                  <a:sym typeface="Menlo"/>
                </a:rPr>
                <a:t>You can make multiple learners at once with </a:t>
              </a: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makeLearners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()</a:t>
              </a:r>
            </a:p>
            <a:p>
              <a:pPr lvl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endParaRPr lang="en-GB" sz="800" dirty="0" smtClean="0">
                <a:latin typeface="Source Sans Pro"/>
                <a:cs typeface="Courier New" panose="02070309020205020404" pitchFamily="49" charset="0"/>
                <a:sym typeface="Menlo"/>
              </a:endParaRPr>
            </a:p>
            <a:p>
              <a:pPr lvl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err="1" smtClean="0">
                  <a:latin typeface="Source Sans Pro"/>
                  <a:cs typeface="Courier New" panose="02070309020205020404" pitchFamily="49" charset="0"/>
                  <a:sym typeface="Menlo"/>
                </a:rPr>
                <a:t>mlr</a:t>
              </a:r>
              <a:r>
                <a:rPr lang="en-GB" sz="800" dirty="0" smtClean="0">
                  <a:latin typeface="Source Sans Pro"/>
                  <a:cs typeface="Courier New" panose="02070309020205020404" pitchFamily="49" charset="0"/>
                  <a:sym typeface="Menlo"/>
                </a:rPr>
                <a:t> has integrated over 170 different learning algorithms</a:t>
              </a:r>
            </a:p>
            <a:p>
              <a:pPr marL="171450" lvl="0" indent="-171450" algn="l">
                <a:buClr>
                  <a:srgbClr val="1D4BA8"/>
                </a:buClr>
                <a:buFont typeface="Arial" panose="020B0604020202020204" pitchFamily="34" charset="0"/>
                <a:buChar char="•"/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smtClean="0">
                  <a:latin typeface="Source Sans Pro"/>
                  <a:cs typeface="Courier New" panose="02070309020205020404" pitchFamily="49" charset="0"/>
                  <a:sym typeface="Menlo"/>
                </a:rPr>
                <a:t>Full list: 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View(</a:t>
              </a: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listLearners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())</a:t>
              </a:r>
              <a:r>
                <a:rPr lang="en-GB" sz="800" dirty="0" smtClean="0"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 </a:t>
              </a:r>
              <a:r>
                <a:rPr lang="en-GB" sz="800" dirty="0" smtClean="0">
                  <a:latin typeface="Source Sans Pro"/>
                  <a:cs typeface="Courier New" panose="02070309020205020404" pitchFamily="49" charset="0"/>
                  <a:sym typeface="Menlo"/>
                </a:rPr>
                <a:t>shows all learners</a:t>
              </a:r>
            </a:p>
            <a:p>
              <a:pPr marL="171450" lvl="0" indent="-171450" algn="l">
                <a:buClr>
                  <a:srgbClr val="1D4BA8"/>
                </a:buClr>
                <a:buFont typeface="Arial" panose="020B0604020202020204" pitchFamily="34" charset="0"/>
                <a:buChar char="•"/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smtClean="0">
                  <a:latin typeface="Source Sans Pro"/>
                  <a:cs typeface="Courier New" panose="02070309020205020404" pitchFamily="49" charset="0"/>
                  <a:sym typeface="Menlo"/>
                </a:rPr>
                <a:t>Available learners for a task: 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View(</a:t>
              </a: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listLearners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(task))</a:t>
              </a:r>
              <a:endParaRPr lang="en-GB" sz="800" dirty="0" smtClean="0">
                <a:latin typeface="Source Sans Pro"/>
                <a:cs typeface="Courier New" panose="02070309020205020404" pitchFamily="49" charset="0"/>
                <a:sym typeface="Menlo"/>
              </a:endParaRPr>
            </a:p>
            <a:p>
              <a:pPr marL="171450" lvl="0" indent="-171450" algn="l">
                <a:buClr>
                  <a:srgbClr val="1D4BA8"/>
                </a:buClr>
                <a:buFont typeface="Arial" panose="020B0604020202020204" pitchFamily="34" charset="0"/>
                <a:buChar char="•"/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smtClean="0">
                  <a:latin typeface="Source Sans Pro"/>
                  <a:cs typeface="Courier New" panose="02070309020205020404" pitchFamily="49" charset="0"/>
                  <a:sym typeface="Menlo"/>
                </a:rPr>
                <a:t>Filtered list: 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View(</a:t>
              </a: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listLearners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(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"</a:t>
              </a: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classif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"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,</a:t>
              </a:r>
              <a:b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</a:b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properties=c(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"</a:t>
              </a: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prob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"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,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 "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factors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"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)))</a:t>
              </a:r>
              <a:r>
                <a:rPr lang="en-GB" sz="800" dirty="0" smtClean="0">
                  <a:latin typeface="Source Sans Pro"/>
                  <a:cs typeface="Courier New" panose="02070309020205020404" pitchFamily="49" charset="0"/>
                  <a:sym typeface="Menlo"/>
                </a:rPr>
                <a:t> shows all classification learners 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"</a:t>
              </a: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classif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"</a:t>
              </a:r>
              <a:r>
                <a:rPr lang="en-GB" sz="800" dirty="0" smtClean="0">
                  <a:latin typeface="Source Sans Pro"/>
                  <a:cs typeface="Courier New" panose="02070309020205020404" pitchFamily="49" charset="0"/>
                  <a:sym typeface="Menlo"/>
                </a:rPr>
                <a:t> which can predict probabilities 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"</a:t>
              </a: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prob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"</a:t>
              </a:r>
              <a:r>
                <a:rPr lang="en-GB" sz="800" dirty="0" smtClean="0">
                  <a:latin typeface="Source Sans Pro"/>
                  <a:cs typeface="Courier New" panose="02070309020205020404" pitchFamily="49" charset="0"/>
                  <a:sym typeface="Menlo"/>
                </a:rPr>
                <a:t> and handle factor inputs 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"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factors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"</a:t>
              </a:r>
            </a:p>
            <a:p>
              <a:pPr marL="171450" lvl="0" indent="-171450" algn="l">
                <a:buClr>
                  <a:srgbClr val="1D4BA8"/>
                </a:buClr>
                <a:buFont typeface="Arial" panose="020B0604020202020204" pitchFamily="34" charset="0"/>
                <a:buChar char="•"/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smtClean="0">
                  <a:latin typeface="Source Sans Pro"/>
                  <a:cs typeface="Courier New" panose="02070309020205020404" pitchFamily="49" charset="0"/>
                  <a:sym typeface="Menlo"/>
                </a:rPr>
                <a:t>See also </a:t>
              </a: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getLearnerProperties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cs typeface="Courier New" panose="02070309020205020404" pitchFamily="49" charset="0"/>
                  <a:sym typeface="Menlo"/>
                </a:rPr>
                <a:t>()</a:t>
              </a:r>
              <a:endParaRPr lang="en-GB" sz="800" dirty="0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Arial" panose="020B0604020202020204" pitchFamily="34" charset="0"/>
              </a:endParaRPr>
            </a:p>
            <a:p>
              <a:pPr marL="171450" lvl="0" indent="-171450" algn="l">
                <a:buClr>
                  <a:srgbClr val="1D4BA8"/>
                </a:buClr>
                <a:buFont typeface="Arial" panose="020B0604020202020204" pitchFamily="34" charset="0"/>
                <a:buChar char="•"/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endParaRPr lang="en-GB" sz="800" dirty="0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1" name="Gruppieren 17"/>
          <p:cNvGrpSpPr/>
          <p:nvPr/>
        </p:nvGrpSpPr>
        <p:grpSpPr>
          <a:xfrm>
            <a:off x="10425212" y="273050"/>
            <a:ext cx="3275674" cy="9777730"/>
            <a:chOff x="10436984" y="712804"/>
            <a:chExt cx="3275674" cy="5065281"/>
          </a:xfrm>
        </p:grpSpPr>
        <p:sp>
          <p:nvSpPr>
            <p:cNvPr id="42" name="Rechteck 80"/>
            <p:cNvSpPr/>
            <p:nvPr/>
          </p:nvSpPr>
          <p:spPr>
            <a:xfrm>
              <a:off x="10448756" y="749098"/>
              <a:ext cx="3263902" cy="187431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no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de-DE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43" name="Shape 38"/>
            <p:cNvSpPr/>
            <p:nvPr/>
          </p:nvSpPr>
          <p:spPr>
            <a:xfrm>
              <a:off x="10436984" y="712804"/>
              <a:ext cx="3263902" cy="175451"/>
            </a:xfrm>
            <a:prstGeom prst="roundRect">
              <a:avLst>
                <a:gd name="adj" fmla="val 20098"/>
              </a:avLst>
            </a:prstGeom>
            <a:solidFill>
              <a:srgbClr val="1D4BA8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lIns="0" tIns="0" rIns="0" bIns="0" anchor="ctr"/>
            <a:lstStyle/>
            <a:p>
              <a:pPr lvl="1" indent="0">
                <a:defRPr sz="1800"/>
              </a:pPr>
              <a:r>
                <a:rPr lang="en-GB" sz="2000" dirty="0" smtClean="0">
                  <a:solidFill>
                    <a:srgbClr val="FFFFFF"/>
                  </a:solidFill>
                  <a:latin typeface="Arial" panose="020B0604020202020204" pitchFamily="34" charset="0"/>
                  <a:ea typeface="Source Sans Pro"/>
                  <a:cs typeface="Arial" panose="020B0604020202020204" pitchFamily="34" charset="0"/>
                  <a:sym typeface="Source Sans Pro"/>
                </a:rPr>
                <a:t>Refining Performance</a:t>
              </a:r>
              <a:endParaRPr sz="2000" dirty="0">
                <a:solidFill>
                  <a:srgbClr val="FFFFFF"/>
                </a:solidFill>
                <a:latin typeface="Arial" panose="020B0604020202020204" pitchFamily="34" charset="0"/>
                <a:ea typeface="Source Sans Pro"/>
                <a:cs typeface="Arial" panose="020B0604020202020204" pitchFamily="34" charset="0"/>
                <a:sym typeface="Source Sans Pro"/>
              </a:endParaRPr>
            </a:p>
          </p:txBody>
        </p:sp>
        <p:sp>
          <p:nvSpPr>
            <p:cNvPr id="44" name="Abgerundetes Rechteck 44"/>
            <p:cNvSpPr/>
            <p:nvPr/>
          </p:nvSpPr>
          <p:spPr>
            <a:xfrm>
              <a:off x="10566219" y="952798"/>
              <a:ext cx="3016772" cy="1566598"/>
            </a:xfrm>
            <a:prstGeom prst="roundRect">
              <a:avLst>
                <a:gd name="adj" fmla="val 4902"/>
              </a:avLst>
            </a:prstGeom>
            <a:solidFill>
              <a:schemeClr val="bg1"/>
            </a:solidFill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="horz" wrap="square" lIns="54570" tIns="0" rIns="54570" bIns="0" numCol="1" spcCol="38100" rtlCol="0" anchor="t">
              <a:noAutofit/>
            </a:bodyPr>
            <a:lstStyle>
              <a:lvl1pPr algn="ctr" defTabSz="584200">
                <a:defRPr sz="3800">
                  <a:latin typeface="+mn-lt"/>
                  <a:ea typeface="+mn-ea"/>
                  <a:cs typeface="+mn-cs"/>
                  <a:sym typeface="Helvetica Light"/>
                </a:defRPr>
              </a:lvl1pPr>
              <a:lvl2pPr indent="228600" algn="ctr" defTabSz="584200">
                <a:defRPr sz="3800">
                  <a:latin typeface="+mn-lt"/>
                  <a:ea typeface="+mn-ea"/>
                  <a:cs typeface="+mn-cs"/>
                  <a:sym typeface="Helvetica Light"/>
                </a:defRPr>
              </a:lvl2pPr>
              <a:lvl3pPr indent="457200" algn="ctr" defTabSz="584200">
                <a:defRPr sz="3800">
                  <a:latin typeface="+mn-lt"/>
                  <a:ea typeface="+mn-ea"/>
                  <a:cs typeface="+mn-cs"/>
                  <a:sym typeface="Helvetica Light"/>
                </a:defRPr>
              </a:lvl3pPr>
              <a:lvl4pPr indent="685800" algn="ctr" defTabSz="584200">
                <a:defRPr sz="3800">
                  <a:latin typeface="+mn-lt"/>
                  <a:ea typeface="+mn-ea"/>
                  <a:cs typeface="+mn-cs"/>
                  <a:sym typeface="Helvetica Light"/>
                </a:defRPr>
              </a:lvl4pPr>
              <a:lvl5pPr indent="914400" algn="ctr" defTabSz="584200">
                <a:defRPr sz="3800">
                  <a:latin typeface="+mn-lt"/>
                  <a:ea typeface="+mn-ea"/>
                  <a:cs typeface="+mn-cs"/>
                  <a:sym typeface="Helvetica Light"/>
                </a:defRPr>
              </a:lvl5pPr>
              <a:lvl6pPr indent="1143000" algn="ctr" defTabSz="584200">
                <a:defRPr sz="3800">
                  <a:latin typeface="+mn-lt"/>
                  <a:ea typeface="+mn-ea"/>
                  <a:cs typeface="+mn-cs"/>
                  <a:sym typeface="Helvetica Light"/>
                </a:defRPr>
              </a:lvl6pPr>
              <a:lvl7pPr indent="1371600" algn="ctr" defTabSz="584200">
                <a:defRPr sz="3800">
                  <a:latin typeface="+mn-lt"/>
                  <a:ea typeface="+mn-ea"/>
                  <a:cs typeface="+mn-cs"/>
                  <a:sym typeface="Helvetica Light"/>
                </a:defRPr>
              </a:lvl7pPr>
              <a:lvl8pPr indent="1600200" algn="ctr" defTabSz="584200">
                <a:defRPr sz="3800">
                  <a:latin typeface="+mn-lt"/>
                  <a:ea typeface="+mn-ea"/>
                  <a:cs typeface="+mn-cs"/>
                  <a:sym typeface="Helvetica Light"/>
                </a:defRPr>
              </a:lvl8pPr>
              <a:lvl9pPr indent="1828800" algn="ctr" defTabSz="584200">
                <a:defRPr sz="3800">
                  <a:latin typeface="+mn-lt"/>
                  <a:ea typeface="+mn-ea"/>
                  <a:cs typeface="+mn-cs"/>
                  <a:sym typeface="Helvetica Light"/>
                </a:defRPr>
              </a:lvl9pPr>
            </a:lstStyle>
            <a:p>
              <a:pPr lvl="0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b="1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Arial" panose="020B0604020202020204" pitchFamily="34" charset="0"/>
                </a:rPr>
                <a:t> </a:t>
              </a:r>
              <a:r>
                <a:rPr lang="en-GB" sz="1600" b="1" dirty="0" smtClean="0">
                  <a:solidFill>
                    <a:schemeClr val="bg1">
                      <a:lumMod val="65000"/>
                    </a:schemeClr>
                  </a:solidFill>
                  <a:latin typeface="Source Sans Pro"/>
                  <a:cs typeface="Arial" panose="020B0604020202020204" pitchFamily="34" charset="0"/>
                </a:rPr>
                <a:t>Tuning </a:t>
              </a:r>
              <a:r>
                <a:rPr lang="en-GB" sz="1600" b="1" dirty="0" err="1" smtClean="0">
                  <a:solidFill>
                    <a:schemeClr val="bg1">
                      <a:lumMod val="65000"/>
                    </a:schemeClr>
                  </a:solidFill>
                  <a:latin typeface="Source Sans Pro"/>
                  <a:cs typeface="Arial" panose="020B0604020202020204" pitchFamily="34" charset="0"/>
                </a:rPr>
                <a:t>hyperparameters</a:t>
              </a:r>
              <a:endParaRPr lang="en-GB" sz="800" dirty="0" smtClean="0">
                <a:solidFill>
                  <a:srgbClr val="0070C0"/>
                </a:solidFill>
                <a:latin typeface="Consolas" panose="020B0609020204030204" pitchFamily="49" charset="0"/>
                <a:cs typeface="Arial" panose="020B0604020202020204" pitchFamily="34" charset="0"/>
              </a:endParaRPr>
            </a:p>
            <a:p>
              <a:pPr lvl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Arial" panose="020B0604020202020204" pitchFamily="34" charset="0"/>
                </a:rPr>
                <a:t>Set search space using </a:t>
              </a:r>
              <a:r>
                <a:rPr lang="en-GB" sz="800" dirty="0" err="1">
                  <a:solidFill>
                    <a:srgbClr val="0070C0"/>
                  </a:solidFill>
                  <a:latin typeface="Consolas" panose="020B0609020204030204" pitchFamily="49" charset="0"/>
                  <a:cs typeface="Arial" panose="020B0604020202020204" pitchFamily="34" charset="0"/>
                </a:rPr>
                <a:t>makeParamSet</a:t>
              </a:r>
              <a:r>
                <a:rPr lang="en-GB" sz="800" dirty="0">
                  <a:solidFill>
                    <a:srgbClr val="0070C0"/>
                  </a:solidFill>
                  <a:latin typeface="Consolas" panose="020B0609020204030204" pitchFamily="49" charset="0"/>
                  <a:cs typeface="Arial" panose="020B0604020202020204" pitchFamily="34" charset="0"/>
                </a:rPr>
                <a:t>(</a:t>
              </a:r>
              <a:r>
                <a:rPr lang="en-GB" sz="800" dirty="0">
                  <a:solidFill>
                    <a:schemeClr val="tx1"/>
                  </a:solidFill>
                  <a:latin typeface="Consolas" panose="020B0609020204030204" pitchFamily="49" charset="0"/>
                  <a:cs typeface="Arial" panose="020B0604020202020204" pitchFamily="34" charset="0"/>
                </a:rPr>
                <a:t>make&lt;type&gt;</a:t>
              </a:r>
              <a:r>
                <a:rPr lang="en-GB" sz="800" dirty="0" err="1">
                  <a:solidFill>
                    <a:schemeClr val="tx1"/>
                  </a:solidFill>
                  <a:latin typeface="Consolas" panose="020B0609020204030204" pitchFamily="49" charset="0"/>
                  <a:cs typeface="Arial" panose="020B0604020202020204" pitchFamily="34" charset="0"/>
                </a:rPr>
                <a:t>Param</a:t>
              </a:r>
              <a:r>
                <a:rPr lang="en-GB" sz="800" dirty="0">
                  <a:solidFill>
                    <a:schemeClr val="tx1"/>
                  </a:solidFill>
                  <a:latin typeface="Consolas" panose="020B0609020204030204" pitchFamily="49" charset="0"/>
                  <a:cs typeface="Arial" panose="020B0604020202020204" pitchFamily="34" charset="0"/>
                </a:rPr>
                <a:t>()</a:t>
              </a:r>
              <a:r>
                <a:rPr lang="en-GB" sz="800" dirty="0">
                  <a:solidFill>
                    <a:srgbClr val="0070C0"/>
                  </a:solidFill>
                  <a:latin typeface="Consolas" panose="020B0609020204030204" pitchFamily="49" charset="0"/>
                  <a:cs typeface="Arial" panose="020B0604020202020204" pitchFamily="34" charset="0"/>
                </a:rPr>
                <a:t>)</a:t>
              </a:r>
            </a:p>
            <a:p>
              <a:pPr marL="171450" lvl="4" indent="-171450" algn="l">
                <a:buClr>
                  <a:srgbClr val="1D4BA8"/>
                </a:buClr>
                <a:buFont typeface="Arial" panose="020B0604020202020204" pitchFamily="34" charset="0"/>
                <a:buChar char="•"/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cs typeface="Arial" panose="020B0604020202020204" pitchFamily="34" charset="0"/>
                </a:rPr>
                <a:t>makeNumericParam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cs typeface="Arial" panose="020B0604020202020204" pitchFamily="34" charset="0"/>
                </a:rPr>
                <a:t>(</a:t>
              </a:r>
              <a:r>
                <a:rPr lang="en-GB" sz="800" dirty="0" smtClean="0">
                  <a:solidFill>
                    <a:schemeClr val="tx1"/>
                  </a:solidFill>
                  <a:latin typeface="Consolas" panose="020B0609020204030204" pitchFamily="49" charset="0"/>
                  <a:cs typeface="Arial" panose="020B0604020202020204" pitchFamily="34" charset="0"/>
                </a:rPr>
                <a:t>id=,lower=,upper=,</a:t>
              </a:r>
              <a:r>
                <a:rPr lang="en-GB" sz="800" dirty="0" err="1" smtClean="0">
                  <a:solidFill>
                    <a:schemeClr val="bg1">
                      <a:lumMod val="50000"/>
                    </a:schemeClr>
                  </a:solidFill>
                  <a:latin typeface="Consolas" panose="020B0609020204030204" pitchFamily="49" charset="0"/>
                  <a:cs typeface="Arial" panose="020B0604020202020204" pitchFamily="34" charset="0"/>
                </a:rPr>
                <a:t>trafo</a:t>
              </a:r>
              <a:r>
                <a:rPr lang="en-GB" sz="800" dirty="0" smtClean="0">
                  <a:solidFill>
                    <a:schemeClr val="bg1">
                      <a:lumMod val="50000"/>
                    </a:schemeClr>
                  </a:solidFill>
                  <a:latin typeface="Consolas" panose="020B0609020204030204" pitchFamily="49" charset="0"/>
                  <a:cs typeface="Arial" panose="020B0604020202020204" pitchFamily="34" charset="0"/>
                </a:rPr>
                <a:t>=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cs typeface="Arial" panose="020B0604020202020204" pitchFamily="34" charset="0"/>
                </a:rPr>
                <a:t>)</a:t>
              </a:r>
            </a:p>
            <a:p>
              <a:pPr marL="171450" lvl="4" indent="-171450" algn="l">
                <a:buClr>
                  <a:srgbClr val="1D4BA8"/>
                </a:buClr>
                <a:buFont typeface="Arial" panose="020B0604020202020204" pitchFamily="34" charset="0"/>
                <a:buChar char="•"/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cs typeface="Arial" panose="020B0604020202020204" pitchFamily="34" charset="0"/>
                </a:rPr>
                <a:t>makeIntegerParam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cs typeface="Arial" panose="020B0604020202020204" pitchFamily="34" charset="0"/>
                </a:rPr>
                <a:t>(</a:t>
              </a:r>
              <a:r>
                <a:rPr lang="en-GB" sz="800" dirty="0" smtClean="0">
                  <a:solidFill>
                    <a:schemeClr val="tx1"/>
                  </a:solidFill>
                  <a:latin typeface="Consolas" panose="020B0609020204030204" pitchFamily="49" charset="0"/>
                  <a:cs typeface="Arial" panose="020B0604020202020204" pitchFamily="34" charset="0"/>
                </a:rPr>
                <a:t>id=,lower=,upper=,</a:t>
              </a:r>
              <a:r>
                <a:rPr lang="en-GB" sz="800" dirty="0" err="1" smtClean="0">
                  <a:solidFill>
                    <a:schemeClr val="bg1">
                      <a:lumMod val="50000"/>
                    </a:schemeClr>
                  </a:solidFill>
                  <a:latin typeface="Consolas" panose="020B0609020204030204" pitchFamily="49" charset="0"/>
                  <a:cs typeface="Arial" panose="020B0604020202020204" pitchFamily="34" charset="0"/>
                </a:rPr>
                <a:t>trafo</a:t>
              </a:r>
              <a:r>
                <a:rPr lang="en-GB" sz="800" dirty="0" smtClean="0">
                  <a:solidFill>
                    <a:schemeClr val="bg1">
                      <a:lumMod val="50000"/>
                    </a:schemeClr>
                  </a:solidFill>
                  <a:latin typeface="Consolas" panose="020B0609020204030204" pitchFamily="49" charset="0"/>
                  <a:cs typeface="Arial" panose="020B0604020202020204" pitchFamily="34" charset="0"/>
                </a:rPr>
                <a:t>=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cs typeface="Arial" panose="020B0604020202020204" pitchFamily="34" charset="0"/>
                </a:rPr>
                <a:t>)</a:t>
              </a:r>
            </a:p>
            <a:p>
              <a:pPr marL="171450" lvl="4" indent="-171450" algn="l">
                <a:buClr>
                  <a:srgbClr val="1D4BA8"/>
                </a:buClr>
                <a:buFont typeface="Arial" panose="020B0604020202020204" pitchFamily="34" charset="0"/>
                <a:buChar char="•"/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cs typeface="Arial" panose="020B0604020202020204" pitchFamily="34" charset="0"/>
                </a:rPr>
                <a:t>makeIntegerVectorParam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cs typeface="Arial" panose="020B0604020202020204" pitchFamily="34" charset="0"/>
                </a:rPr>
                <a:t>(</a:t>
              </a:r>
              <a:r>
                <a:rPr lang="en-GB" sz="800" dirty="0" smtClean="0">
                  <a:solidFill>
                    <a:schemeClr val="tx1"/>
                  </a:solidFill>
                  <a:latin typeface="Consolas" panose="020B0609020204030204" pitchFamily="49" charset="0"/>
                  <a:cs typeface="Arial" panose="020B0604020202020204" pitchFamily="34" charset="0"/>
                </a:rPr>
                <a:t>id=,</a:t>
              </a:r>
              <a:r>
                <a:rPr lang="en-GB" sz="800" dirty="0" err="1" smtClean="0">
                  <a:solidFill>
                    <a:schemeClr val="tx1"/>
                  </a:solidFill>
                  <a:latin typeface="Consolas" panose="020B0609020204030204" pitchFamily="49" charset="0"/>
                  <a:cs typeface="Arial" panose="020B0604020202020204" pitchFamily="34" charset="0"/>
                </a:rPr>
                <a:t>len</a:t>
              </a:r>
              <a:r>
                <a:rPr lang="en-GB" sz="800" dirty="0" smtClean="0">
                  <a:solidFill>
                    <a:schemeClr val="tx1"/>
                  </a:solidFill>
                  <a:latin typeface="Consolas" panose="020B0609020204030204" pitchFamily="49" charset="0"/>
                  <a:cs typeface="Arial" panose="020B0604020202020204" pitchFamily="34" charset="0"/>
                </a:rPr>
                <a:t>=,lower=,upper=,</a:t>
              </a:r>
              <a:br>
                <a:rPr lang="en-GB" sz="800" dirty="0" smtClean="0">
                  <a:solidFill>
                    <a:schemeClr val="tx1"/>
                  </a:solidFill>
                  <a:latin typeface="Consolas" panose="020B0609020204030204" pitchFamily="49" charset="0"/>
                  <a:cs typeface="Arial" panose="020B0604020202020204" pitchFamily="34" charset="0"/>
                </a:rPr>
              </a:br>
              <a:r>
                <a:rPr lang="en-GB" sz="800" dirty="0" err="1" smtClean="0">
                  <a:solidFill>
                    <a:schemeClr val="bg1">
                      <a:lumMod val="50000"/>
                    </a:schemeClr>
                  </a:solidFill>
                  <a:latin typeface="Consolas" panose="020B0609020204030204" pitchFamily="49" charset="0"/>
                  <a:cs typeface="Arial" panose="020B0604020202020204" pitchFamily="34" charset="0"/>
                </a:rPr>
                <a:t>trafo</a:t>
              </a:r>
              <a:r>
                <a:rPr lang="en-GB" sz="800" dirty="0" smtClean="0">
                  <a:solidFill>
                    <a:schemeClr val="bg1">
                      <a:lumMod val="50000"/>
                    </a:schemeClr>
                  </a:solidFill>
                  <a:latin typeface="Consolas" panose="020B0609020204030204" pitchFamily="49" charset="0"/>
                  <a:cs typeface="Arial" panose="020B0604020202020204" pitchFamily="34" charset="0"/>
                </a:rPr>
                <a:t>=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cs typeface="Arial" panose="020B0604020202020204" pitchFamily="34" charset="0"/>
                </a:rPr>
                <a:t>)</a:t>
              </a:r>
            </a:p>
            <a:p>
              <a:pPr marL="171450" lvl="4" indent="-171450" algn="l">
                <a:buClr>
                  <a:srgbClr val="1D4BA8"/>
                </a:buClr>
                <a:buFont typeface="Arial" panose="020B0604020202020204" pitchFamily="34" charset="0"/>
                <a:buChar char="•"/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cs typeface="Arial" panose="020B0604020202020204" pitchFamily="34" charset="0"/>
                </a:rPr>
                <a:t>makeDiscreteParam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cs typeface="Arial" panose="020B0604020202020204" pitchFamily="34" charset="0"/>
                </a:rPr>
                <a:t>(</a:t>
              </a:r>
              <a:r>
                <a:rPr lang="en-GB" sz="800" dirty="0" smtClean="0">
                  <a:solidFill>
                    <a:schemeClr val="tx1"/>
                  </a:solidFill>
                  <a:latin typeface="Consolas" panose="020B0609020204030204" pitchFamily="49" charset="0"/>
                  <a:cs typeface="Arial" panose="020B0604020202020204" pitchFamily="34" charset="0"/>
                </a:rPr>
                <a:t>id=,values=c(...)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cs typeface="Arial" panose="020B0604020202020204" pitchFamily="34" charset="0"/>
                </a:rPr>
                <a:t>)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Arial" panose="020B0604020202020204" pitchFamily="34" charset="0"/>
                </a:rPr>
                <a:t> (can also be </a:t>
              </a:r>
              <a:r>
                <a:rPr lang="en-GB" sz="800" dirty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Arial" panose="020B0604020202020204" pitchFamily="34" charset="0"/>
                </a:rPr>
                <a:t>used to test discrete values of numeric or integer 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Arial" panose="020B0604020202020204" pitchFamily="34" charset="0"/>
                </a:rPr>
                <a:t>parameters</a:t>
              </a:r>
              <a:r>
                <a:rPr lang="en-GB" sz="800" dirty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Arial" panose="020B0604020202020204" pitchFamily="34" charset="0"/>
                </a:rPr>
                <a:t>)</a:t>
              </a:r>
              <a:endParaRPr lang="en-GB" sz="800" dirty="0" smtClean="0">
                <a:solidFill>
                  <a:srgbClr val="0070C0"/>
                </a:solidFill>
                <a:latin typeface="Consolas" panose="020B0609020204030204" pitchFamily="49" charset="0"/>
                <a:cs typeface="Arial" panose="020B0604020202020204" pitchFamily="34" charset="0"/>
              </a:endParaRPr>
            </a:p>
            <a:p>
              <a:pPr lvl="4" indent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cs typeface="Arial" panose="020B0604020202020204" pitchFamily="34" charset="0"/>
                </a:rPr>
                <a:t>trafo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Arial" panose="020B0604020202020204" pitchFamily="34" charset="0"/>
                </a:rPr>
                <a:t> transforms the parameter output using a specified function, e.g. 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lower=-2,upper=2,trafo=function(x) 10^x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Arial" panose="020B0604020202020204" pitchFamily="34" charset="0"/>
                </a:rPr>
                <a:t> would test values between 0.01 and 100, scaled exponentially</a:t>
              </a:r>
              <a:endParaRPr lang="en-GB" sz="800" dirty="0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Arial" panose="020B0604020202020204" pitchFamily="34" charset="0"/>
              </a:endParaRPr>
            </a:p>
            <a:p>
              <a:pPr lvl="4" indent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Arial" panose="020B0604020202020204" pitchFamily="34" charset="0"/>
                </a:rPr>
                <a:t>Other acceptable parameter types include 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cs typeface="Arial" panose="020B0604020202020204" pitchFamily="34" charset="0"/>
                </a:rPr>
                <a:t>Logical </a:t>
              </a: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cs typeface="Arial" panose="020B0604020202020204" pitchFamily="34" charset="0"/>
                </a:rPr>
                <a:t>LogicalVector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cs typeface="Arial" panose="020B0604020202020204" pitchFamily="34" charset="0"/>
                </a:rPr>
                <a:t> </a:t>
              </a: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cs typeface="Arial" panose="020B0604020202020204" pitchFamily="34" charset="0"/>
                </a:rPr>
                <a:t>CharacterVector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cs typeface="Arial" panose="020B0604020202020204" pitchFamily="34" charset="0"/>
                </a:rPr>
                <a:t> </a:t>
              </a: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cs typeface="Arial" panose="020B0604020202020204" pitchFamily="34" charset="0"/>
                </a:rPr>
                <a:t>DiscreteVector</a:t>
              </a:r>
              <a:endParaRPr lang="en-GB" sz="800" dirty="0" smtClean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endParaRPr>
            </a:p>
            <a:p>
              <a:pPr lvl="4" indent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endParaRPr lang="en-GB" sz="800" dirty="0" smtClean="0">
                <a:solidFill>
                  <a:srgbClr val="0070C0"/>
                </a:solidFill>
                <a:latin typeface="Consolas" panose="020B0609020204030204" pitchFamily="49" charset="0"/>
                <a:cs typeface="Arial" panose="020B0604020202020204" pitchFamily="34" charset="0"/>
              </a:endParaRPr>
            </a:p>
            <a:p>
              <a:pPr marL="1587" lvl="4" indent="0" algn="l">
                <a:buClr>
                  <a:srgbClr val="1D4BA8"/>
                </a:buClr>
                <a:tabLst>
                  <a:tab pos="171450" algn="l"/>
                </a:tabLst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Arial" panose="020B0604020202020204" pitchFamily="34" charset="0"/>
                </a:rPr>
                <a:t>Set a search algorithm with </a:t>
              </a: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makeTuneControl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&lt;type&gt;()</a:t>
              </a:r>
            </a:p>
            <a:p>
              <a:pPr marL="171450" lvl="5" indent="-169863" algn="l">
                <a:buClr>
                  <a:srgbClr val="1D4BA8"/>
                </a:buClr>
                <a:buFont typeface="Arial" panose="020B0604020202020204" pitchFamily="34" charset="0"/>
                <a:buChar char="•"/>
                <a:tabLst>
                  <a:tab pos="171450" algn="l"/>
                </a:tabLst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Grid(</a:t>
              </a:r>
              <a:r>
                <a:rPr lang="en-GB" sz="800" dirty="0" smtClean="0">
                  <a:solidFill>
                    <a:schemeClr val="bg1">
                      <a:lumMod val="50000"/>
                    </a:schemeClr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resolution=10L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)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Arial" panose="020B0604020202020204" pitchFamily="34" charset="0"/>
                </a:rPr>
                <a:t> Grid of all possible points</a:t>
              </a:r>
            </a:p>
            <a:p>
              <a:pPr marL="171450" lvl="5" indent="-169863" algn="l">
                <a:buClr>
                  <a:srgbClr val="1D4BA8"/>
                </a:buClr>
                <a:buFont typeface="Arial" panose="020B0604020202020204" pitchFamily="34" charset="0"/>
                <a:buChar char="•"/>
                <a:tabLst>
                  <a:tab pos="171450" algn="l"/>
                </a:tabLst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Random(</a:t>
              </a:r>
              <a:r>
                <a:rPr lang="en-GB" sz="800" dirty="0" err="1" smtClean="0">
                  <a:solidFill>
                    <a:schemeClr val="bg1">
                      <a:lumMod val="50000"/>
                    </a:schemeClr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maxit</a:t>
              </a:r>
              <a:r>
                <a:rPr lang="en-GB" sz="800" dirty="0" smtClean="0">
                  <a:solidFill>
                    <a:schemeClr val="bg1">
                      <a:lumMod val="50000"/>
                    </a:schemeClr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=100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)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Arial" panose="020B0604020202020204" pitchFamily="34" charset="0"/>
                </a:rPr>
                <a:t> Randomly sample search space</a:t>
              </a:r>
              <a:endParaRPr lang="en-GB" sz="800" dirty="0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Arial" panose="020B0604020202020204" pitchFamily="34" charset="0"/>
              </a:endParaRPr>
            </a:p>
            <a:p>
              <a:pPr marL="171450" lvl="5" indent="-169863" algn="l">
                <a:buClr>
                  <a:srgbClr val="1D4BA8"/>
                </a:buClr>
                <a:buFont typeface="Arial" panose="020B0604020202020204" pitchFamily="34" charset="0"/>
                <a:buChar char="•"/>
                <a:tabLst>
                  <a:tab pos="171450" algn="l"/>
                </a:tabLst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MBO(</a:t>
              </a:r>
              <a:r>
                <a:rPr lang="en-GB" sz="800" dirty="0" smtClean="0">
                  <a:solidFill>
                    <a:schemeClr val="bg1">
                      <a:lumMod val="50000"/>
                    </a:schemeClr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budget=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)</a:t>
              </a:r>
              <a:r>
                <a:rPr lang="en-GB" sz="800" dirty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Arial" panose="020B0604020202020204" pitchFamily="34" charset="0"/>
                </a:rPr>
                <a:t> 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Arial" panose="020B0604020202020204" pitchFamily="34" charset="0"/>
                </a:rPr>
                <a:t>Use Bayesian model-based optimization</a:t>
              </a:r>
              <a:endParaRPr lang="en-GB" sz="800" dirty="0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Arial" panose="020B0604020202020204" pitchFamily="34" charset="0"/>
              </a:endParaRPr>
            </a:p>
            <a:p>
              <a:pPr marL="171450" lvl="5" indent="-169863" algn="l">
                <a:buClr>
                  <a:srgbClr val="1D4BA8"/>
                </a:buClr>
                <a:buFont typeface="Arial" panose="020B0604020202020204" pitchFamily="34" charset="0"/>
                <a:buChar char="•"/>
                <a:tabLst>
                  <a:tab pos="171450" algn="l"/>
                </a:tabLst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Irace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(</a:t>
              </a:r>
              <a:r>
                <a:rPr lang="en-GB" sz="800" dirty="0" err="1" smtClean="0">
                  <a:solidFill>
                    <a:schemeClr val="bg1">
                      <a:lumMod val="50000"/>
                    </a:schemeClr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n.instances</a:t>
              </a:r>
              <a:r>
                <a:rPr lang="en-GB" sz="800" dirty="0" smtClean="0">
                  <a:solidFill>
                    <a:schemeClr val="bg1">
                      <a:lumMod val="50000"/>
                    </a:schemeClr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=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)</a:t>
              </a:r>
              <a:r>
                <a:rPr lang="en-GB" sz="800" dirty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Arial" panose="020B0604020202020204" pitchFamily="34" charset="0"/>
                </a:rPr>
                <a:t> 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Arial" panose="020B0604020202020204" pitchFamily="34" charset="0"/>
                </a:rPr>
                <a:t>Iterated racing process</a:t>
              </a:r>
            </a:p>
            <a:p>
              <a:pPr marL="171450" lvl="5" indent="-169863" algn="l">
                <a:buClr>
                  <a:srgbClr val="1D4BA8"/>
                </a:buClr>
                <a:buFont typeface="Arial" panose="020B0604020202020204" pitchFamily="34" charset="0"/>
                <a:buChar char="•"/>
                <a:tabLst>
                  <a:tab pos="171450" algn="l"/>
                </a:tabLst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Arial" panose="020B0604020202020204" pitchFamily="34" charset="0"/>
                </a:rPr>
                <a:t>Other types: 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CMAES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Arial" panose="020B0604020202020204" pitchFamily="34" charset="0"/>
                </a:rPr>
                <a:t>, 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Design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Arial" panose="020B0604020202020204" pitchFamily="34" charset="0"/>
                </a:rPr>
                <a:t>, </a:t>
              </a: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GenSA</a:t>
              </a:r>
              <a:endParaRPr lang="en-GB" sz="800" dirty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Arial" panose="020B0604020202020204" pitchFamily="34" charset="0"/>
              </a:endParaRPr>
            </a:p>
            <a:p>
              <a:pPr lvl="5" indent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endParaRPr lang="en-GB" sz="800" dirty="0" smtClean="0">
                <a:solidFill>
                  <a:srgbClr val="0070C0"/>
                </a:solidFill>
                <a:latin typeface="Consolas" panose="020B0609020204030204" pitchFamily="49" charset="0"/>
                <a:cs typeface="Arial" panose="020B0604020202020204" pitchFamily="34" charset="0"/>
              </a:endParaRPr>
            </a:p>
            <a:p>
              <a:pPr lvl="4" indent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Arial" panose="020B0604020202020204" pitchFamily="34" charset="0"/>
                </a:rPr>
                <a:t>Tune using </a:t>
              </a: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tuneParams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(</a:t>
              </a:r>
              <a:r>
                <a:rPr lang="en-GB" sz="800" dirty="0" smtClean="0">
                  <a:solidFill>
                    <a:schemeClr val="tx1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learner=,task=,resampling=,</a:t>
              </a:r>
            </a:p>
            <a:p>
              <a:pPr lvl="4" indent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smtClean="0">
                  <a:solidFill>
                    <a:schemeClr val="bg1">
                      <a:lumMod val="50000"/>
                    </a:schemeClr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measures=</a:t>
              </a:r>
              <a:r>
                <a:rPr lang="en-GB" sz="800" dirty="0" smtClean="0">
                  <a:solidFill>
                    <a:schemeClr val="tx1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,</a:t>
              </a:r>
              <a:r>
                <a:rPr lang="en-GB" sz="800" dirty="0" err="1" smtClean="0">
                  <a:solidFill>
                    <a:schemeClr val="tx1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par.set</a:t>
              </a:r>
              <a:r>
                <a:rPr lang="en-GB" sz="800" dirty="0" smtClean="0">
                  <a:solidFill>
                    <a:schemeClr val="tx1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=,control=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)</a:t>
              </a:r>
              <a:endParaRPr lang="en-GB" sz="800" dirty="0" smtClean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5" name="Rechteck 80"/>
            <p:cNvSpPr/>
            <p:nvPr/>
          </p:nvSpPr>
          <p:spPr>
            <a:xfrm>
              <a:off x="10448756" y="2802111"/>
              <a:ext cx="3263902" cy="297597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no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de-DE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216" name="Abgerundetes Rechteck 44"/>
            <p:cNvSpPr/>
            <p:nvPr/>
          </p:nvSpPr>
          <p:spPr>
            <a:xfrm>
              <a:off x="10566218" y="2919352"/>
              <a:ext cx="3016773" cy="2793485"/>
            </a:xfrm>
            <a:prstGeom prst="roundRect">
              <a:avLst>
                <a:gd name="adj" fmla="val 4902"/>
              </a:avLst>
            </a:prstGeom>
            <a:solidFill>
              <a:schemeClr val="bg1"/>
            </a:solidFill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="horz" wrap="square" lIns="54570" tIns="0" rIns="54570" bIns="0" numCol="1" spcCol="38100" rtlCol="0" anchor="t">
              <a:noAutofit/>
            </a:bodyPr>
            <a:lstStyle>
              <a:lvl1pPr algn="ctr" defTabSz="584200">
                <a:defRPr sz="3800">
                  <a:latin typeface="+mn-lt"/>
                  <a:ea typeface="+mn-ea"/>
                  <a:cs typeface="+mn-cs"/>
                  <a:sym typeface="Helvetica Light"/>
                </a:defRPr>
              </a:lvl1pPr>
              <a:lvl2pPr indent="228600" algn="ctr" defTabSz="584200">
                <a:defRPr sz="3800">
                  <a:latin typeface="+mn-lt"/>
                  <a:ea typeface="+mn-ea"/>
                  <a:cs typeface="+mn-cs"/>
                  <a:sym typeface="Helvetica Light"/>
                </a:defRPr>
              </a:lvl2pPr>
              <a:lvl3pPr indent="457200" algn="ctr" defTabSz="584200">
                <a:defRPr sz="3800">
                  <a:latin typeface="+mn-lt"/>
                  <a:ea typeface="+mn-ea"/>
                  <a:cs typeface="+mn-cs"/>
                  <a:sym typeface="Helvetica Light"/>
                </a:defRPr>
              </a:lvl3pPr>
              <a:lvl4pPr indent="685800" algn="ctr" defTabSz="584200">
                <a:defRPr sz="3800">
                  <a:latin typeface="+mn-lt"/>
                  <a:ea typeface="+mn-ea"/>
                  <a:cs typeface="+mn-cs"/>
                  <a:sym typeface="Helvetica Light"/>
                </a:defRPr>
              </a:lvl4pPr>
              <a:lvl5pPr indent="914400" algn="ctr" defTabSz="584200">
                <a:defRPr sz="3800">
                  <a:latin typeface="+mn-lt"/>
                  <a:ea typeface="+mn-ea"/>
                  <a:cs typeface="+mn-cs"/>
                  <a:sym typeface="Helvetica Light"/>
                </a:defRPr>
              </a:lvl5pPr>
              <a:lvl6pPr indent="1143000" algn="ctr" defTabSz="584200">
                <a:defRPr sz="3800">
                  <a:latin typeface="+mn-lt"/>
                  <a:ea typeface="+mn-ea"/>
                  <a:cs typeface="+mn-cs"/>
                  <a:sym typeface="Helvetica Light"/>
                </a:defRPr>
              </a:lvl6pPr>
              <a:lvl7pPr indent="1371600" algn="ctr" defTabSz="584200">
                <a:defRPr sz="3800">
                  <a:latin typeface="+mn-lt"/>
                  <a:ea typeface="+mn-ea"/>
                  <a:cs typeface="+mn-cs"/>
                  <a:sym typeface="Helvetica Light"/>
                </a:defRPr>
              </a:lvl7pPr>
              <a:lvl8pPr indent="1600200" algn="ctr" defTabSz="584200">
                <a:defRPr sz="3800">
                  <a:latin typeface="+mn-lt"/>
                  <a:ea typeface="+mn-ea"/>
                  <a:cs typeface="+mn-cs"/>
                  <a:sym typeface="Helvetica Light"/>
                </a:defRPr>
              </a:lvl8pPr>
              <a:lvl9pPr indent="1828800" algn="ctr" defTabSz="584200">
                <a:defRPr sz="3800">
                  <a:latin typeface="+mn-lt"/>
                  <a:ea typeface="+mn-ea"/>
                  <a:cs typeface="+mn-cs"/>
                  <a:sym typeface="Helvetica Light"/>
                </a:defRPr>
              </a:lvl9pPr>
            </a:lstStyle>
            <a:p>
              <a:pPr lvl="0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1000" b="1" dirty="0" smtClean="0">
                  <a:solidFill>
                    <a:schemeClr val="bg1">
                      <a:lumMod val="65000"/>
                    </a:schemeClr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Arial" panose="020B0604020202020204" pitchFamily="34" charset="0"/>
                </a:rPr>
                <a:t>Prepare data for training and testing</a:t>
              </a:r>
            </a:p>
            <a:p>
              <a:pPr lvl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library(</a:t>
              </a:r>
              <a:r>
                <a:rPr lang="en-GB" sz="800" dirty="0" err="1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mlbench</a:t>
              </a:r>
              <a:r>
                <a:rPr lang="en-GB" sz="800" dirty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)</a:t>
              </a:r>
            </a:p>
            <a:p>
              <a:pPr lvl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data(Soybean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)</a:t>
              </a:r>
              <a:endParaRPr lang="en-GB" sz="800" dirty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Arial" panose="020B0604020202020204" pitchFamily="34" charset="0"/>
              </a:endParaRPr>
            </a:p>
            <a:p>
              <a:pPr lvl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soy = </a:t>
              </a:r>
              <a:r>
                <a:rPr lang="en-GB" sz="800" dirty="0" err="1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createDummyFeatures</a:t>
              </a:r>
              <a:r>
                <a:rPr lang="en-GB" sz="800" dirty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(</a:t>
              </a:r>
              <a:r>
                <a:rPr lang="en-GB" sz="800" dirty="0" err="1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Soybean,target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="Class")</a:t>
              </a:r>
            </a:p>
            <a:p>
              <a:pPr lvl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tsk = </a:t>
              </a: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makeClassifTask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(data=</a:t>
              </a: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soy,target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="Class")</a:t>
              </a:r>
            </a:p>
            <a:p>
              <a:pPr lvl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err="1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ho</a:t>
              </a:r>
              <a:r>
                <a:rPr lang="en-GB" sz="800" dirty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 = </a:t>
              </a:r>
              <a:r>
                <a:rPr lang="en-GB" sz="800" dirty="0" err="1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makeResampleInstance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("</a:t>
              </a: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Holdout",</a:t>
              </a:r>
              <a:r>
                <a:rPr lang="en-GB" sz="800" dirty="0" err="1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tsk</a:t>
              </a:r>
              <a:r>
                <a:rPr lang="en-GB" sz="800" dirty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)</a:t>
              </a:r>
            </a:p>
            <a:p>
              <a:pPr lvl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err="1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tsk.train</a:t>
              </a:r>
              <a:r>
                <a:rPr lang="en-GB" sz="800" dirty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 = </a:t>
              </a:r>
              <a:r>
                <a:rPr lang="en-GB" sz="800" dirty="0" err="1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subsetTask</a:t>
              </a:r>
              <a:r>
                <a:rPr lang="en-GB" sz="800" dirty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(</a:t>
              </a:r>
              <a:r>
                <a:rPr lang="en-GB" sz="800" dirty="0" err="1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tsk,ho$train.inds</a:t>
              </a:r>
              <a:r>
                <a:rPr lang="en-GB" sz="800" dirty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[[1]])</a:t>
              </a:r>
            </a:p>
            <a:p>
              <a:pPr lvl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err="1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tsk.test</a:t>
              </a:r>
              <a:r>
                <a:rPr lang="en-GB" sz="800" dirty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 = </a:t>
              </a:r>
              <a:r>
                <a:rPr lang="en-GB" sz="800" dirty="0" err="1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subsetTask</a:t>
              </a:r>
              <a:r>
                <a:rPr lang="en-GB" sz="800" dirty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(</a:t>
              </a:r>
              <a:r>
                <a:rPr lang="en-GB" sz="800" dirty="0" err="1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tsk,ho$test.inds</a:t>
              </a:r>
              <a:r>
                <a:rPr lang="en-GB" sz="800" dirty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[[1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]])</a:t>
              </a:r>
            </a:p>
            <a:p>
              <a:pPr lvl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Arial" panose="020B0604020202020204" pitchFamily="34" charset="0"/>
                </a:rPr>
                <a:t>Convert the factor inputs in the Soybean dataset into (0,1) dummy features which can be used by the </a:t>
              </a:r>
              <a:r>
                <a:rPr lang="en-GB" sz="800" dirty="0" err="1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Arial" panose="020B0604020202020204" pitchFamily="34" charset="0"/>
                </a:rPr>
                <a:t>XGboost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Arial" panose="020B0604020202020204" pitchFamily="34" charset="0"/>
                </a:rPr>
                <a:t> algorithm. Create a task to </a:t>
              </a:r>
              <a:r>
                <a:rPr lang="en-GB" sz="800" dirty="0" err="1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Arial" panose="020B0604020202020204" pitchFamily="34" charset="0"/>
                </a:rPr>
                <a:t>precict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Arial" panose="020B0604020202020204" pitchFamily="34" charset="0"/>
                </a:rPr>
                <a:t> the "Class" column. Create a train set with 2/3 of data and a test set with the remaining 1/3 (default).</a:t>
              </a:r>
            </a:p>
            <a:p>
              <a:pPr lvl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endParaRPr lang="en-GB" sz="800" dirty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Arial" panose="020B0604020202020204" pitchFamily="34" charset="0"/>
              </a:endParaRPr>
            </a:p>
            <a:p>
              <a:pPr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1000" b="1" dirty="0" smtClean="0">
                  <a:solidFill>
                    <a:schemeClr val="bg1">
                      <a:lumMod val="65000"/>
                    </a:schemeClr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Arial" panose="020B0604020202020204" pitchFamily="34" charset="0"/>
                </a:rPr>
                <a:t>Create learner and evaluate performance</a:t>
              </a:r>
              <a:endParaRPr lang="en-GB" sz="1000" b="1" dirty="0">
                <a:solidFill>
                  <a:schemeClr val="bg1">
                    <a:lumMod val="65000"/>
                  </a:schemeClr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endParaRPr>
            </a:p>
            <a:p>
              <a:pPr lvl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err="1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lrn</a:t>
              </a:r>
              <a:r>
                <a:rPr lang="en-GB" sz="800" dirty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 = </a:t>
              </a:r>
              <a:r>
                <a:rPr lang="en-GB" sz="800" dirty="0" err="1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makeLearner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("classif.</a:t>
              </a: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xgboost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",</a:t>
              </a:r>
              <a:r>
                <a:rPr lang="en-GB" sz="800" dirty="0" err="1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nrounds</a:t>
              </a:r>
              <a:r>
                <a:rPr lang="en-GB" sz="800" dirty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=10)</a:t>
              </a:r>
            </a:p>
            <a:p>
              <a:pPr lvl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cv = </a:t>
              </a:r>
              <a:r>
                <a:rPr lang="en-GB" sz="800" dirty="0" err="1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makeResampleDesc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("CV",</a:t>
              </a:r>
              <a:r>
                <a:rPr lang="en-GB" sz="800" dirty="0" err="1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iters</a:t>
              </a:r>
              <a:r>
                <a:rPr lang="en-GB" sz="800" dirty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=5)</a:t>
              </a:r>
            </a:p>
            <a:p>
              <a:pPr lvl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res = resample(</a:t>
              </a:r>
              <a:r>
                <a:rPr lang="en-GB" sz="800" dirty="0" err="1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lrn,tsk.train,cv,acc</a:t>
              </a:r>
              <a:r>
                <a:rPr lang="en-GB" sz="800" dirty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)</a:t>
              </a:r>
            </a:p>
            <a:p>
              <a:pPr lvl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Arial" panose="020B0604020202020204" pitchFamily="34" charset="0"/>
                </a:rPr>
                <a:t>Create an </a:t>
              </a:r>
              <a:r>
                <a:rPr lang="en-GB" sz="800" dirty="0" err="1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Arial" panose="020B0604020202020204" pitchFamily="34" charset="0"/>
                </a:rPr>
                <a:t>XGboost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Arial" panose="020B0604020202020204" pitchFamily="34" charset="0"/>
                </a:rPr>
                <a:t> learner which will build 10 trees. Then test performance using 5-fold cross-validation. Accuracy should be between 0.90-0.92.</a:t>
              </a:r>
              <a:endParaRPr lang="en-GB" sz="800" dirty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Arial" panose="020B0604020202020204" pitchFamily="34" charset="0"/>
              </a:endParaRPr>
            </a:p>
            <a:p>
              <a:pPr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endParaRPr lang="en-GB" sz="800" b="1" dirty="0" smtClean="0">
                <a:solidFill>
                  <a:schemeClr val="bg1">
                    <a:lumMod val="65000"/>
                  </a:schemeClr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endParaRPr>
            </a:p>
            <a:p>
              <a:pPr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1000" b="1" dirty="0" smtClean="0">
                  <a:solidFill>
                    <a:schemeClr val="bg1">
                      <a:lumMod val="65000"/>
                    </a:schemeClr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Arial" panose="020B0604020202020204" pitchFamily="34" charset="0"/>
                </a:rPr>
                <a:t>Tune </a:t>
              </a:r>
              <a:r>
                <a:rPr lang="en-GB" sz="1000" b="1" dirty="0" err="1" smtClean="0">
                  <a:solidFill>
                    <a:schemeClr val="bg1">
                      <a:lumMod val="65000"/>
                    </a:schemeClr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Arial" panose="020B0604020202020204" pitchFamily="34" charset="0"/>
                </a:rPr>
                <a:t>hyperparameters</a:t>
              </a:r>
              <a:r>
                <a:rPr lang="en-GB" sz="1000" b="1" dirty="0" smtClean="0">
                  <a:solidFill>
                    <a:schemeClr val="bg1">
                      <a:lumMod val="65000"/>
                    </a:schemeClr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Arial" panose="020B0604020202020204" pitchFamily="34" charset="0"/>
                </a:rPr>
                <a:t> and retrain model</a:t>
              </a:r>
              <a:endParaRPr lang="en-GB" sz="1000" dirty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Arial" panose="020B0604020202020204" pitchFamily="34" charset="0"/>
              </a:endParaRPr>
            </a:p>
            <a:p>
              <a:pPr lvl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err="1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ps</a:t>
              </a:r>
              <a:r>
                <a:rPr lang="en-GB" sz="800" dirty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 = </a:t>
              </a:r>
              <a:r>
                <a:rPr lang="en-GB" sz="800" dirty="0" err="1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makeParamSet</a:t>
              </a:r>
              <a:r>
                <a:rPr lang="en-GB" sz="800" dirty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(</a:t>
              </a:r>
              <a:r>
                <a:rPr lang="en-GB" sz="800" dirty="0" err="1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makeNumericParam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("eta",</a:t>
              </a:r>
              <a:r>
                <a:rPr lang="en-GB" sz="800" dirty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0,1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),</a:t>
              </a:r>
            </a:p>
            <a:p>
              <a:pPr lvl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  </a:t>
              </a: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makeNumericParam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("lambda",</a:t>
              </a:r>
              <a:r>
                <a:rPr lang="en-GB" sz="800" dirty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0,200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),</a:t>
              </a:r>
            </a:p>
            <a:p>
              <a:pPr lvl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 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 </a:t>
              </a: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makeIntegerParam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("max_depth",</a:t>
              </a:r>
              <a:r>
                <a:rPr lang="en-GB" sz="800" dirty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1,20))</a:t>
              </a:r>
            </a:p>
            <a:p>
              <a:pPr lvl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err="1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tc</a:t>
              </a:r>
              <a:r>
                <a:rPr lang="en-GB" sz="800" dirty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 = </a:t>
              </a: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makeTuneControlMBO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(budget=100)</a:t>
              </a:r>
              <a:endParaRPr lang="en-GB" sz="800" dirty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Arial" panose="020B0604020202020204" pitchFamily="34" charset="0"/>
              </a:endParaRPr>
            </a:p>
            <a:p>
              <a:pPr lvl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err="1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tr</a:t>
              </a:r>
              <a:r>
                <a:rPr lang="en-GB" sz="800" dirty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 = </a:t>
              </a:r>
              <a:r>
                <a:rPr lang="en-GB" sz="800" dirty="0" err="1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tuneParams</a:t>
              </a:r>
              <a:r>
                <a:rPr lang="en-GB" sz="800" dirty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(lrn,tsk.train,cv5,acc,ps,tc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)</a:t>
              </a:r>
            </a:p>
            <a:p>
              <a:pPr lvl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lrn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 </a:t>
              </a:r>
              <a:r>
                <a:rPr lang="en-GB" sz="800" dirty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= </a:t>
              </a:r>
              <a:r>
                <a:rPr lang="en-GB" sz="800" dirty="0" err="1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setHyperPars</a:t>
              </a:r>
              <a:r>
                <a:rPr lang="en-GB" sz="800" dirty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(</a:t>
              </a:r>
              <a:r>
                <a:rPr lang="en-GB" sz="800" dirty="0" err="1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lrn,par.vals</a:t>
              </a:r>
              <a:r>
                <a:rPr lang="en-GB" sz="800" dirty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=</a:t>
              </a:r>
              <a:r>
                <a:rPr lang="en-GB" sz="800" dirty="0" err="1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tr$x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)</a:t>
              </a:r>
            </a:p>
            <a:p>
              <a:pPr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Arial" panose="020B0604020202020204" pitchFamily="34" charset="0"/>
                </a:rPr>
                <a:t>Tune </a:t>
              </a:r>
              <a:r>
                <a:rPr lang="en-GB" sz="800" dirty="0" err="1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Arial" panose="020B0604020202020204" pitchFamily="34" charset="0"/>
                </a:rPr>
                <a:t>hyperparameters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Arial" panose="020B0604020202020204" pitchFamily="34" charset="0"/>
                </a:rPr>
                <a:t> 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eta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Arial" panose="020B0604020202020204" pitchFamily="34" charset="0"/>
                </a:rPr>
                <a:t>, 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lambda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Arial" panose="020B0604020202020204" pitchFamily="34" charset="0"/>
                </a:rPr>
                <a:t>, and </a:t>
              </a: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max_depth</a:t>
              </a:r>
              <a:r>
                <a:rPr lang="en-GB" sz="800" dirty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Arial" panose="020B0604020202020204" pitchFamily="34" charset="0"/>
                </a:rPr>
                <a:t> 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Arial" panose="020B0604020202020204" pitchFamily="34" charset="0"/>
                </a:rPr>
                <a:t>by defining a search space and using Model Based Optimization (MBO) to control the search. Then perform 100 rounds of 5-fold cross-validation, improving accuracy to ~0.93. Update the </a:t>
              </a:r>
              <a:r>
                <a:rPr lang="en-GB" sz="800" dirty="0" err="1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Arial" panose="020B0604020202020204" pitchFamily="34" charset="0"/>
                </a:rPr>
                <a:t>XGboost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Arial" panose="020B0604020202020204" pitchFamily="34" charset="0"/>
                </a:rPr>
                <a:t> learner with the tuned </a:t>
              </a:r>
              <a:r>
                <a:rPr lang="en-GB" sz="800" dirty="0" err="1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Arial" panose="020B0604020202020204" pitchFamily="34" charset="0"/>
                </a:rPr>
                <a:t>hyperparameters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Arial" panose="020B0604020202020204" pitchFamily="34" charset="0"/>
                </a:rPr>
                <a:t>.</a:t>
              </a:r>
              <a:endParaRPr lang="en-GB" sz="800" dirty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Arial" panose="020B0604020202020204" pitchFamily="34" charset="0"/>
              </a:endParaRPr>
            </a:p>
            <a:p>
              <a:pPr lvl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endParaRPr lang="en-GB" sz="800" dirty="0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Arial" panose="020B0604020202020204" pitchFamily="34" charset="0"/>
              </a:endParaRPr>
            </a:p>
            <a:p>
              <a:pPr lvl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mdl </a:t>
              </a:r>
              <a:r>
                <a:rPr lang="en-GB" sz="800" dirty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= 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train(</a:t>
              </a: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lrn,tsk.train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)</a:t>
              </a:r>
            </a:p>
            <a:p>
              <a:pPr lvl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prd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 = predict(</a:t>
              </a: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mdl,tsk.test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)</a:t>
              </a:r>
            </a:p>
            <a:p>
              <a:pPr lvl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calculateConfusionMatrix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(</a:t>
              </a: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prd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)</a:t>
              </a:r>
            </a:p>
            <a:p>
              <a:pPr lvl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mdl = train(</a:t>
              </a: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lrn,tsk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)</a:t>
              </a:r>
              <a:endParaRPr lang="en-GB" sz="800" dirty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Arial" panose="020B0604020202020204" pitchFamily="34" charset="0"/>
              </a:endParaRPr>
            </a:p>
            <a:p>
              <a:pPr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Arial" panose="020B0604020202020204" pitchFamily="34" charset="0"/>
                </a:rPr>
                <a:t>Train the model on the train set and make predictions on the test set. Show performance as a confusion matrix. Finally, re-train model on the full set to use on new data. You are now ready to go out into the real world and make 93% accurate predictions!</a:t>
              </a:r>
              <a:endParaRPr lang="en-GB" sz="800" dirty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8" name="Shape 38"/>
            <p:cNvSpPr/>
            <p:nvPr/>
          </p:nvSpPr>
          <p:spPr>
            <a:xfrm>
              <a:off x="10436984" y="2656774"/>
              <a:ext cx="3263902" cy="175451"/>
            </a:xfrm>
            <a:prstGeom prst="roundRect">
              <a:avLst>
                <a:gd name="adj" fmla="val 20098"/>
              </a:avLst>
            </a:prstGeom>
            <a:solidFill>
              <a:srgbClr val="1D4BA8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lIns="0" tIns="0" rIns="0" bIns="0" anchor="ctr"/>
            <a:lstStyle/>
            <a:p>
              <a:pPr lvl="1" indent="0">
                <a:defRPr sz="1800"/>
              </a:pPr>
              <a:r>
                <a:rPr lang="en-GB" sz="2000" dirty="0" err="1" smtClean="0">
                  <a:solidFill>
                    <a:srgbClr val="FFFFFF"/>
                  </a:solidFill>
                  <a:latin typeface="Arial" panose="020B0604020202020204" pitchFamily="34" charset="0"/>
                  <a:ea typeface="Source Sans Pro"/>
                  <a:cs typeface="Arial" panose="020B0604020202020204" pitchFamily="34" charset="0"/>
                  <a:sym typeface="Source Sans Pro"/>
                </a:rPr>
                <a:t>Quickstart</a:t>
              </a:r>
              <a:endParaRPr sz="2000" dirty="0">
                <a:solidFill>
                  <a:srgbClr val="FFFFFF"/>
                </a:solidFill>
                <a:latin typeface="Arial" panose="020B0604020202020204" pitchFamily="34" charset="0"/>
                <a:ea typeface="Source Sans Pro"/>
                <a:cs typeface="Arial" panose="020B0604020202020204" pitchFamily="34" charset="0"/>
                <a:sym typeface="Source Sans Pro"/>
              </a:endParaRPr>
            </a:p>
          </p:txBody>
        </p:sp>
      </p:grpSp>
      <p:grpSp>
        <p:nvGrpSpPr>
          <p:cNvPr id="45" name="Gruppieren 18"/>
          <p:cNvGrpSpPr/>
          <p:nvPr/>
        </p:nvGrpSpPr>
        <p:grpSpPr>
          <a:xfrm>
            <a:off x="7045919" y="273049"/>
            <a:ext cx="3263902" cy="10256890"/>
            <a:chOff x="7056549" y="723065"/>
            <a:chExt cx="3263902" cy="3835000"/>
          </a:xfrm>
        </p:grpSpPr>
        <p:sp>
          <p:nvSpPr>
            <p:cNvPr id="46" name="Rechteck 78"/>
            <p:cNvSpPr/>
            <p:nvPr/>
          </p:nvSpPr>
          <p:spPr>
            <a:xfrm>
              <a:off x="7056549" y="850065"/>
              <a:ext cx="3263902" cy="3708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de-DE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47" name="Shape 38"/>
            <p:cNvSpPr/>
            <p:nvPr/>
          </p:nvSpPr>
          <p:spPr>
            <a:xfrm>
              <a:off x="7056549" y="723065"/>
              <a:ext cx="3263902" cy="125074"/>
            </a:xfrm>
            <a:prstGeom prst="roundRect">
              <a:avLst>
                <a:gd name="adj" fmla="val 20098"/>
              </a:avLst>
            </a:prstGeom>
            <a:solidFill>
              <a:srgbClr val="1D4BA8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lIns="0" tIns="0" rIns="0" bIns="0" anchor="ctr"/>
            <a:lstStyle/>
            <a:p>
              <a:pPr lvl="1" indent="0">
                <a:defRPr sz="1800"/>
              </a:pPr>
              <a:r>
                <a:rPr lang="en-GB" sz="2000" dirty="0" smtClean="0">
                  <a:solidFill>
                    <a:srgbClr val="FFFFFF"/>
                  </a:solidFill>
                  <a:latin typeface="Arial" panose="020B0604020202020204" pitchFamily="34" charset="0"/>
                  <a:ea typeface="Source Sans Pro"/>
                  <a:cs typeface="Arial" panose="020B0604020202020204" pitchFamily="34" charset="0"/>
                  <a:sym typeface="Source Sans Pro"/>
                </a:rPr>
                <a:t>Training &amp; Testing</a:t>
              </a:r>
              <a:endParaRPr sz="2000" dirty="0">
                <a:solidFill>
                  <a:srgbClr val="FFFFFF"/>
                </a:solidFill>
                <a:latin typeface="Arial" panose="020B0604020202020204" pitchFamily="34" charset="0"/>
                <a:ea typeface="Source Sans Pro"/>
                <a:cs typeface="Arial" panose="020B0604020202020204" pitchFamily="34" charset="0"/>
                <a:sym typeface="Source Sans Pro"/>
              </a:endParaRPr>
            </a:p>
          </p:txBody>
        </p:sp>
        <p:sp>
          <p:nvSpPr>
            <p:cNvPr id="48" name="Abgerundetes Rechteck 79"/>
            <p:cNvSpPr/>
            <p:nvPr/>
          </p:nvSpPr>
          <p:spPr>
            <a:xfrm>
              <a:off x="7199188" y="899692"/>
              <a:ext cx="2984142" cy="3584056"/>
            </a:xfrm>
            <a:prstGeom prst="roundRect">
              <a:avLst>
                <a:gd name="adj" fmla="val 4902"/>
              </a:avLst>
            </a:prstGeom>
            <a:solidFill>
              <a:schemeClr val="bg1"/>
            </a:solidFill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4570" tIns="0" rIns="54570" bIns="0" numCol="1" spcCol="38100" rtlCol="0" anchor="t">
              <a:noAutofit/>
            </a:bodyPr>
            <a:lstStyle/>
            <a:p>
              <a:pPr lvl="0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1600" b="1" dirty="0" smtClean="0">
                  <a:solidFill>
                    <a:schemeClr val="bg1">
                      <a:lumMod val="65000"/>
                    </a:schemeClr>
                  </a:solidFill>
                  <a:latin typeface="Source Sans Pro"/>
                  <a:cs typeface="Arial" panose="020B0604020202020204" pitchFamily="34" charset="0"/>
                </a:rPr>
                <a:t>Setting </a:t>
              </a:r>
              <a:r>
                <a:rPr lang="en-GB" sz="1600" b="1" dirty="0" err="1" smtClean="0">
                  <a:solidFill>
                    <a:schemeClr val="bg1">
                      <a:lumMod val="65000"/>
                    </a:schemeClr>
                  </a:solidFill>
                  <a:latin typeface="Source Sans Pro"/>
                  <a:cs typeface="Arial" panose="020B0604020202020204" pitchFamily="34" charset="0"/>
                </a:rPr>
                <a:t>hyperparameters</a:t>
              </a:r>
              <a:endParaRPr lang="en-US" sz="1000" dirty="0" smtClean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971550" lvl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US" sz="800" spc="-30" dirty="0" err="1" smtClean="0">
                  <a:solidFill>
                    <a:srgbClr val="0070C0"/>
                  </a:solidFill>
                  <a:latin typeface="Consolas" panose="020B0609020204030204" pitchFamily="49" charset="0"/>
                  <a:cs typeface="Arial" panose="020B0604020202020204" pitchFamily="34" charset="0"/>
                </a:rPr>
                <a:t>setHyperPars</a:t>
              </a:r>
              <a:r>
                <a:rPr lang="en-US" sz="800" spc="-30" dirty="0" smtClean="0">
                  <a:solidFill>
                    <a:srgbClr val="0070C0"/>
                  </a:solidFill>
                  <a:latin typeface="Consolas" panose="020B0609020204030204" pitchFamily="49" charset="0"/>
                  <a:cs typeface="Arial" panose="020B0604020202020204" pitchFamily="34" charset="0"/>
                </a:rPr>
                <a:t>(</a:t>
              </a:r>
              <a:r>
                <a:rPr lang="en-US" sz="800" spc="-30" dirty="0" smtClean="0">
                  <a:solidFill>
                    <a:schemeClr val="tx1"/>
                  </a:solidFill>
                  <a:latin typeface="Consolas" panose="020B0609020204030204" pitchFamily="49" charset="0"/>
                  <a:cs typeface="Arial" panose="020B0604020202020204" pitchFamily="34" charset="0"/>
                </a:rPr>
                <a:t>learner=,</a:t>
              </a:r>
              <a:r>
                <a:rPr lang="en-US" sz="800" spc="-30" dirty="0" smtClean="0">
                  <a:solidFill>
                    <a:schemeClr val="bg1">
                      <a:lumMod val="50000"/>
                    </a:schemeClr>
                  </a:solidFill>
                  <a:latin typeface="Consolas" panose="020B0609020204030204" pitchFamily="49" charset="0"/>
                  <a:cs typeface="Arial" panose="020B0604020202020204" pitchFamily="34" charset="0"/>
                </a:rPr>
                <a:t>...</a:t>
              </a:r>
              <a:r>
                <a:rPr lang="en-US" sz="800" spc="-30" dirty="0" smtClean="0">
                  <a:solidFill>
                    <a:srgbClr val="0070C0"/>
                  </a:solidFill>
                  <a:latin typeface="Consolas" panose="020B0609020204030204" pitchFamily="49" charset="0"/>
                  <a:cs typeface="Arial" panose="020B0604020202020204" pitchFamily="34" charset="0"/>
                </a:rPr>
                <a:t>)</a:t>
              </a:r>
            </a:p>
            <a:p>
              <a:pPr marL="971550" lvl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US" sz="800" spc="-3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Arial" panose="020B0604020202020204" pitchFamily="34" charset="0"/>
                </a:rPr>
                <a:t>Set the </a:t>
              </a:r>
              <a:r>
                <a:rPr lang="en-US" sz="800" spc="-30" dirty="0" err="1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Arial" panose="020B0604020202020204" pitchFamily="34" charset="0"/>
                </a:rPr>
                <a:t>hyperparameters</a:t>
              </a:r>
              <a:r>
                <a:rPr lang="en-US" sz="800" spc="-3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Arial" panose="020B0604020202020204" pitchFamily="34" charset="0"/>
                </a:rPr>
                <a:t> (settings) for each learner, if you don’t want to use the </a:t>
              </a:r>
              <a:r>
                <a:rPr lang="en-US" sz="800" spc="-30" dirty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Arial" panose="020B0604020202020204" pitchFamily="34" charset="0"/>
                </a:rPr>
                <a:t>defaults. You can also specify </a:t>
              </a:r>
              <a:r>
                <a:rPr lang="en-US" sz="800" spc="-30" dirty="0" err="1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Arial" panose="020B0604020202020204" pitchFamily="34" charset="0"/>
                </a:rPr>
                <a:t>hyperparameters</a:t>
              </a:r>
              <a:r>
                <a:rPr lang="en-US" sz="800" spc="-30" dirty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Arial" panose="020B0604020202020204" pitchFamily="34" charset="0"/>
                </a:rPr>
                <a:t> in the </a:t>
              </a:r>
              <a:r>
                <a:rPr lang="en-US" sz="800" spc="-3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makeLearner</a:t>
              </a:r>
              <a:r>
                <a:rPr lang="en-US" sz="800" spc="-3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()</a:t>
              </a:r>
              <a:r>
                <a:rPr lang="en-US" sz="800" spc="-3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Arial" panose="020B0604020202020204" pitchFamily="34" charset="0"/>
                </a:rPr>
                <a:t> call</a:t>
              </a:r>
            </a:p>
            <a:p>
              <a:pPr marL="971550" lvl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endParaRPr lang="en-US" sz="800" spc="-30" dirty="0" smtClean="0">
                <a:latin typeface="Consolas" panose="020B0609020204030204" pitchFamily="49" charset="0"/>
                <a:cs typeface="Arial" panose="020B0604020202020204" pitchFamily="34" charset="0"/>
              </a:endParaRPr>
            </a:p>
            <a:p>
              <a:pPr marL="971550" lvl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US" sz="800" spc="-30" dirty="0" err="1" smtClean="0">
                  <a:solidFill>
                    <a:srgbClr val="0070C0"/>
                  </a:solidFill>
                  <a:latin typeface="Consolas" panose="020B0609020204030204" pitchFamily="49" charset="0"/>
                  <a:cs typeface="Arial" panose="020B0604020202020204" pitchFamily="34" charset="0"/>
                </a:rPr>
                <a:t>getParamSet</a:t>
              </a:r>
              <a:r>
                <a:rPr lang="en-US" sz="800" spc="-30" dirty="0" smtClean="0">
                  <a:solidFill>
                    <a:srgbClr val="0070C0"/>
                  </a:solidFill>
                  <a:latin typeface="Consolas" panose="020B0609020204030204" pitchFamily="49" charset="0"/>
                  <a:cs typeface="Arial" panose="020B0604020202020204" pitchFamily="34" charset="0"/>
                </a:rPr>
                <a:t>(</a:t>
              </a:r>
              <a:r>
                <a:rPr lang="en-US" sz="800" spc="-30" dirty="0" smtClean="0">
                  <a:solidFill>
                    <a:schemeClr val="tx1"/>
                  </a:solidFill>
                  <a:latin typeface="Consolas" panose="020B0609020204030204" pitchFamily="49" charset="0"/>
                  <a:cs typeface="Arial" panose="020B0604020202020204" pitchFamily="34" charset="0"/>
                </a:rPr>
                <a:t>learner=</a:t>
              </a:r>
              <a:r>
                <a:rPr lang="en-US" sz="800" spc="-30" dirty="0" smtClean="0">
                  <a:solidFill>
                    <a:srgbClr val="0070C0"/>
                  </a:solidFill>
                  <a:latin typeface="Consolas" panose="020B0609020204030204" pitchFamily="49" charset="0"/>
                  <a:cs typeface="Arial" panose="020B0604020202020204" pitchFamily="34" charset="0"/>
                </a:rPr>
                <a:t>)</a:t>
              </a:r>
            </a:p>
            <a:p>
              <a:pPr marL="971550" lvl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US" sz="800" spc="-3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Arial" panose="020B0604020202020204" pitchFamily="34" charset="0"/>
                </a:rPr>
                <a:t>Show the possible universe of parameters for your learner; can take a learner directly, or a text string such as 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"</a:t>
              </a:r>
              <a:r>
                <a:rPr lang="en-US" sz="800" spc="-30" dirty="0" err="1" smtClean="0">
                  <a:solidFill>
                    <a:schemeClr val="accent1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classif.qda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"</a:t>
              </a:r>
              <a:endParaRPr lang="en-US" sz="800" spc="-30" dirty="0" smtClean="0">
                <a:solidFill>
                  <a:schemeClr val="accent1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Arial" panose="020B0604020202020204" pitchFamily="34" charset="0"/>
              </a:endParaRPr>
            </a:p>
            <a:p>
              <a:pPr marL="1028700" lvl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endParaRPr lang="en-GB" sz="800" dirty="0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Arial" panose="020B0604020202020204" pitchFamily="34" charset="0"/>
              </a:endParaRPr>
            </a:p>
            <a:p>
              <a:pPr lvl="0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1600" b="1" dirty="0" smtClean="0">
                  <a:solidFill>
                    <a:schemeClr val="bg1">
                      <a:lumMod val="65000"/>
                    </a:schemeClr>
                  </a:solidFill>
                  <a:latin typeface="Source Sans Pro"/>
                  <a:cs typeface="Arial" panose="020B0604020202020204" pitchFamily="34" charset="0"/>
                </a:rPr>
                <a:t>Train a model and predict</a:t>
              </a:r>
              <a:endParaRPr lang="en-GB" sz="800" dirty="0" smtClean="0">
                <a:solidFill>
                  <a:schemeClr val="tx1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Arial" panose="020B0604020202020204" pitchFamily="34" charset="0"/>
              </a:endParaRPr>
            </a:p>
            <a:p>
              <a:pPr marL="1028700" lvl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train(</a:t>
              </a:r>
              <a:r>
                <a:rPr lang="en-GB" sz="800" dirty="0" smtClean="0">
                  <a:solidFill>
                    <a:schemeClr val="tx1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learner=,task=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)</a:t>
              </a:r>
            </a:p>
            <a:p>
              <a:pPr marL="1028700" lvl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Arial" panose="020B0604020202020204" pitchFamily="34" charset="0"/>
                </a:rPr>
                <a:t>Train a model (</a:t>
              </a: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WrappedModel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Arial" panose="020B0604020202020204" pitchFamily="34" charset="0"/>
                </a:rPr>
                <a:t>) by applying a learner to a task. By default, the model will train on all observations. The underlying model can be extracted with </a:t>
              </a: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getLearnerModel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()</a:t>
              </a:r>
            </a:p>
            <a:p>
              <a:pPr lvl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endParaRPr lang="en-GB" sz="800" dirty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Arial" panose="020B0604020202020204" pitchFamily="34" charset="0"/>
              </a:endParaRPr>
            </a:p>
            <a:p>
              <a:pPr marL="1028700" lvl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predict(</a:t>
              </a:r>
              <a:r>
                <a:rPr lang="en-GB" sz="800" dirty="0" smtClean="0">
                  <a:solidFill>
                    <a:schemeClr val="tx1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object=,task=,</a:t>
              </a:r>
              <a:r>
                <a:rPr lang="en-GB" sz="800" dirty="0" err="1" smtClean="0">
                  <a:solidFill>
                    <a:schemeClr val="tx1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newdata</a:t>
              </a:r>
              <a:r>
                <a:rPr lang="en-GB" sz="800" dirty="0" smtClean="0">
                  <a:solidFill>
                    <a:schemeClr val="tx1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=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)</a:t>
              </a:r>
            </a:p>
            <a:p>
              <a:pPr marL="1028700" lvl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Arial" panose="020B0604020202020204" pitchFamily="34" charset="0"/>
                </a:rPr>
                <a:t>Use a trained model to make predictions on a task or dataset. The resulting </a:t>
              </a: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pred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Arial" panose="020B0604020202020204" pitchFamily="34" charset="0"/>
                </a:rPr>
                <a:t> object can be viewed with 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View(</a:t>
              </a: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pred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)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Arial" panose="020B0604020202020204" pitchFamily="34" charset="0"/>
                </a:rPr>
                <a:t> or accessed by </a:t>
              </a: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as.data.frame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(</a:t>
              </a:r>
              <a:r>
                <a:rPr lang="en-GB" sz="800" dirty="0" err="1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pred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)</a:t>
              </a:r>
              <a:endParaRPr lang="en-GB" sz="800" dirty="0" smtClean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endParaRPr>
            </a:p>
            <a:p>
              <a:pPr marL="1028700" lvl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endParaRPr lang="en-GB" sz="800" dirty="0" smtClean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endParaRPr>
            </a:p>
            <a:p>
              <a:pPr lvl="0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1600" b="1" dirty="0" smtClean="0">
                  <a:solidFill>
                    <a:schemeClr val="bg1">
                      <a:lumMod val="65000"/>
                    </a:schemeClr>
                  </a:solidFill>
                  <a:latin typeface="Source Sans Pro"/>
                  <a:cs typeface="Arial" panose="020B0604020202020204" pitchFamily="34" charset="0"/>
                </a:rPr>
                <a:t>Measuring performance</a:t>
              </a:r>
              <a:endParaRPr lang="en-GB" sz="800" dirty="0" smtClean="0">
                <a:solidFill>
                  <a:srgbClr val="0070C0"/>
                </a:solidFill>
                <a:latin typeface="Consolas" panose="020B0609020204030204" pitchFamily="49" charset="0"/>
                <a:cs typeface="Arial" panose="020B0604020202020204" pitchFamily="34" charset="0"/>
              </a:endParaRPr>
            </a:p>
            <a:p>
              <a:pPr marL="171450" lvl="0" indent="-17145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cs typeface="Arial" panose="020B0604020202020204" pitchFamily="34" charset="0"/>
                </a:rPr>
                <a:t>performance(</a:t>
              </a:r>
              <a:r>
                <a:rPr lang="en-GB" sz="800" dirty="0" err="1" smtClean="0">
                  <a:solidFill>
                    <a:schemeClr val="tx1"/>
                  </a:solidFill>
                  <a:latin typeface="Consolas" panose="020B0609020204030204" pitchFamily="49" charset="0"/>
                  <a:cs typeface="Arial" panose="020B0604020202020204" pitchFamily="34" charset="0"/>
                </a:rPr>
                <a:t>pred</a:t>
              </a:r>
              <a:r>
                <a:rPr lang="en-GB" sz="800" dirty="0" smtClean="0">
                  <a:solidFill>
                    <a:schemeClr val="tx1"/>
                  </a:solidFill>
                  <a:latin typeface="Consolas" panose="020B0609020204030204" pitchFamily="49" charset="0"/>
                  <a:cs typeface="Arial" panose="020B0604020202020204" pitchFamily="34" charset="0"/>
                </a:rPr>
                <a:t>=,</a:t>
              </a:r>
              <a:r>
                <a:rPr lang="en-GB" sz="800" dirty="0" smtClean="0">
                  <a:solidFill>
                    <a:schemeClr val="bg1">
                      <a:lumMod val="50000"/>
                    </a:schemeClr>
                  </a:solidFill>
                  <a:latin typeface="Consolas" panose="020B0609020204030204" pitchFamily="49" charset="0"/>
                  <a:cs typeface="Arial" panose="020B0604020202020204" pitchFamily="34" charset="0"/>
                </a:rPr>
                <a:t>measures=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cs typeface="Arial" panose="020B0604020202020204" pitchFamily="34" charset="0"/>
                </a:rPr>
                <a:t>)</a:t>
              </a:r>
            </a:p>
            <a:p>
              <a:pPr lvl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Arial" panose="020B0604020202020204" pitchFamily="34" charset="0"/>
                </a:rPr>
                <a:t>Calculate performance of predictions according to one or more of several </a:t>
              </a:r>
              <a:r>
                <a:rPr lang="en-GB" sz="800" dirty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Arial" panose="020B0604020202020204" pitchFamily="34" charset="0"/>
                </a:rPr>
                <a:t>measures (use </a:t>
              </a:r>
              <a:r>
                <a:rPr lang="en-GB" sz="800" dirty="0" err="1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listMeasures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()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Arial" panose="020B0604020202020204" pitchFamily="34" charset="0"/>
                </a:rPr>
                <a:t> for full list):</a:t>
              </a:r>
            </a:p>
            <a:p>
              <a:pPr marL="114300" indent="-114300" algn="l" rtl="0" latinLnBrk="1" hangingPunct="0">
                <a:buFont typeface="Arial" panose="020B0604020202020204" pitchFamily="34" charset="0"/>
                <a:buChar char="•"/>
              </a:pPr>
              <a:r>
                <a:rPr lang="en-US" sz="900" b="1" dirty="0" err="1">
                  <a:solidFill>
                    <a:schemeClr val="bg1">
                      <a:lumMod val="65000"/>
                    </a:schemeClr>
                  </a:solidFill>
                  <a:latin typeface="Source Sans Pro" panose="020B0503030403020204" pitchFamily="34" charset="0"/>
                  <a:ea typeface="Source Sans Pro" panose="020B0503030403020204" pitchFamily="34" charset="0"/>
                </a:rPr>
                <a:t>classif</a:t>
              </a:r>
              <a:r>
                <a:rPr lang="en-US" sz="900" b="1" dirty="0">
                  <a:solidFill>
                    <a:schemeClr val="bg1">
                      <a:lumMod val="65000"/>
                    </a:schemeClr>
                  </a:solidFill>
                  <a:latin typeface="Source Sans Pro" panose="020B0503030403020204" pitchFamily="34" charset="0"/>
                  <a:ea typeface="Source Sans Pro" panose="020B0503030403020204" pitchFamily="34" charset="0"/>
                </a:rPr>
                <a:t> </a:t>
              </a:r>
              <a:r>
                <a:rPr lang="en-US" sz="800" dirty="0" err="1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acc</a:t>
              </a:r>
              <a:r>
                <a:rPr lang="en-US" sz="800" dirty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 </a:t>
              </a:r>
              <a:r>
                <a:rPr lang="en-US" sz="800" dirty="0" err="1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auc</a:t>
              </a:r>
              <a:r>
                <a:rPr lang="en-US" sz="800" dirty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 </a:t>
              </a:r>
              <a:r>
                <a:rPr lang="en-US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bac </a:t>
              </a:r>
              <a:r>
                <a:rPr lang="en-US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ber</a:t>
              </a:r>
              <a:r>
                <a:rPr lang="en-US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 </a:t>
              </a:r>
              <a:r>
                <a:rPr lang="en-US" sz="800" dirty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brier[.scaled] </a:t>
              </a:r>
              <a:r>
                <a:rPr lang="en-US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f1 </a:t>
              </a:r>
              <a:r>
                <a:rPr lang="en-US" sz="800" dirty="0" err="1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fdr</a:t>
              </a:r>
              <a:r>
                <a:rPr lang="en-US" sz="800" dirty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 </a:t>
              </a:r>
              <a:r>
                <a:rPr lang="en-US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fn</a:t>
              </a:r>
              <a:r>
                <a:rPr lang="en-US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 </a:t>
              </a:r>
              <a:r>
                <a:rPr lang="en-US" sz="800" dirty="0" err="1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fnr</a:t>
              </a:r>
              <a:r>
                <a:rPr lang="en-US" sz="800" dirty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 </a:t>
              </a:r>
              <a:r>
                <a:rPr lang="en-US" sz="800" dirty="0" err="1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fp</a:t>
              </a:r>
              <a:r>
                <a:rPr lang="en-US" sz="800" dirty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 </a:t>
              </a:r>
              <a:r>
                <a:rPr lang="en-US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fpr</a:t>
              </a:r>
              <a:r>
                <a:rPr lang="en-US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 </a:t>
              </a:r>
              <a:r>
                <a:rPr lang="en-US" sz="800" dirty="0" err="1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gmean</a:t>
              </a:r>
              <a:r>
                <a:rPr lang="en-US" sz="800" dirty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 </a:t>
              </a:r>
              <a:r>
                <a:rPr lang="en-US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multiclass</a:t>
              </a:r>
              <a:r>
                <a:rPr lang="en-US" sz="800" dirty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[.au1u .</a:t>
              </a:r>
              <a:r>
                <a:rPr lang="en-US" sz="800" dirty="0" err="1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aunp</a:t>
              </a:r>
              <a:r>
                <a:rPr lang="en-US" sz="800" dirty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 </a:t>
              </a:r>
              <a:r>
                <a:rPr lang="en-US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.</a:t>
              </a:r>
              <a:r>
                <a:rPr lang="en-US" sz="800" dirty="0" err="1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aunu</a:t>
              </a:r>
              <a:r>
                <a:rPr lang="en-US" sz="800" dirty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 </a:t>
              </a:r>
              <a:r>
                <a:rPr lang="en-US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  .</a:t>
              </a:r>
              <a:r>
                <a:rPr lang="en-US" sz="800" dirty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brier] </a:t>
              </a:r>
              <a:r>
                <a:rPr lang="en-US" sz="800" dirty="0" err="1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npv</a:t>
              </a:r>
              <a:r>
                <a:rPr lang="en-US" sz="800" dirty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 </a:t>
              </a:r>
              <a:r>
                <a:rPr lang="en-US" sz="800" dirty="0" err="1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ppv</a:t>
              </a:r>
              <a:r>
                <a:rPr lang="en-US" sz="800" dirty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 </a:t>
              </a:r>
              <a:r>
                <a:rPr lang="en-US" sz="800" dirty="0" err="1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qsr</a:t>
              </a:r>
              <a:r>
                <a:rPr lang="en-US" sz="800" dirty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 </a:t>
              </a:r>
              <a:r>
                <a:rPr lang="en-US" sz="800" dirty="0" err="1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ssr</a:t>
              </a:r>
              <a:r>
                <a:rPr lang="en-US" sz="800" dirty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 </a:t>
              </a:r>
              <a:r>
                <a:rPr lang="en-US" sz="800" dirty="0" err="1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tn</a:t>
              </a:r>
              <a:r>
                <a:rPr lang="en-US" sz="800" dirty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 </a:t>
              </a:r>
              <a:r>
                <a:rPr lang="en-US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tnr</a:t>
              </a:r>
              <a:r>
                <a:rPr lang="en-US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 </a:t>
              </a:r>
              <a:r>
                <a:rPr lang="en-US" sz="800" dirty="0" err="1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tp</a:t>
              </a:r>
              <a:r>
                <a:rPr lang="en-US" sz="800" dirty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 </a:t>
              </a:r>
              <a:r>
                <a:rPr lang="en-US" sz="800" dirty="0" err="1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tpr</a:t>
              </a:r>
              <a:r>
                <a:rPr lang="en-US" sz="800" dirty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 </a:t>
              </a:r>
              <a:r>
                <a:rPr lang="en-US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wkappa</a:t>
              </a:r>
              <a:endParaRPr lang="en-GB" sz="800" dirty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endParaRPr>
            </a:p>
            <a:p>
              <a:pPr marL="114300" indent="-114300" algn="l" rtl="0" latinLnBrk="1" hangingPunct="0">
                <a:buFont typeface="Arial" panose="020B0604020202020204" pitchFamily="34" charset="0"/>
                <a:buChar char="•"/>
              </a:pPr>
              <a:r>
                <a:rPr lang="en-US" sz="900" b="1" dirty="0" err="1">
                  <a:solidFill>
                    <a:schemeClr val="bg1">
                      <a:lumMod val="65000"/>
                    </a:schemeClr>
                  </a:solidFill>
                  <a:latin typeface="Source Sans Pro" panose="020B0503030403020204" pitchFamily="34" charset="0"/>
                  <a:ea typeface="Source Sans Pro" panose="020B0503030403020204" pitchFamily="34" charset="0"/>
                </a:rPr>
                <a:t>regr</a:t>
              </a:r>
              <a:r>
                <a:rPr lang="en-US" sz="900" b="1" dirty="0">
                  <a:solidFill>
                    <a:schemeClr val="bg1">
                      <a:lumMod val="65000"/>
                    </a:schemeClr>
                  </a:solidFill>
                  <a:latin typeface="Source Sans Pro" panose="020B0503030403020204" pitchFamily="34" charset="0"/>
                  <a:ea typeface="Source Sans Pro" panose="020B0503030403020204" pitchFamily="34" charset="0"/>
                </a:rPr>
                <a:t> </a:t>
              </a:r>
              <a:r>
                <a:rPr lang="en-US" sz="800" dirty="0" err="1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arsq</a:t>
              </a:r>
              <a:r>
                <a:rPr lang="en-US" sz="800" dirty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 </a:t>
              </a:r>
              <a:r>
                <a:rPr lang="en-US" sz="800" dirty="0" err="1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expvar</a:t>
              </a:r>
              <a:r>
                <a:rPr lang="en-US" sz="800" dirty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 </a:t>
              </a:r>
              <a:r>
                <a:rPr lang="en-US" sz="800" dirty="0" err="1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kendalltau</a:t>
              </a:r>
              <a:r>
                <a:rPr lang="en-US" sz="800" dirty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 </a:t>
              </a:r>
              <a:r>
                <a:rPr lang="en-US" sz="800" dirty="0" err="1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mae</a:t>
              </a:r>
              <a:r>
                <a:rPr lang="en-US" sz="800" dirty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 </a:t>
              </a:r>
              <a:r>
                <a:rPr lang="en-US" sz="800" dirty="0" err="1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mape</a:t>
              </a:r>
              <a:r>
                <a:rPr lang="en-US" sz="800" dirty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 </a:t>
              </a:r>
              <a:r>
                <a:rPr lang="en-US" sz="800" dirty="0" err="1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medae</a:t>
              </a:r>
              <a:r>
                <a:rPr lang="en-US" sz="800" dirty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 </a:t>
              </a:r>
              <a:br>
                <a:rPr lang="en-US" sz="800" dirty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</a:br>
              <a:r>
                <a:rPr lang="en-US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medse</a:t>
              </a:r>
              <a:r>
                <a:rPr lang="en-US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 </a:t>
              </a:r>
              <a:r>
                <a:rPr lang="en-US" sz="800" dirty="0" err="1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mse</a:t>
              </a:r>
              <a:r>
                <a:rPr lang="en-US" sz="800" dirty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 </a:t>
              </a:r>
              <a:r>
                <a:rPr lang="en-US" sz="800" dirty="0" err="1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msle</a:t>
              </a:r>
              <a:r>
                <a:rPr lang="en-US" sz="800" dirty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 </a:t>
              </a:r>
              <a:r>
                <a:rPr lang="en-US" sz="800" dirty="0" err="1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rae</a:t>
              </a:r>
              <a:r>
                <a:rPr lang="en-US" sz="800" dirty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 </a:t>
              </a:r>
              <a:r>
                <a:rPr lang="en-US" sz="800" dirty="0" err="1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rmse</a:t>
              </a:r>
              <a:r>
                <a:rPr lang="en-US" sz="800" dirty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 </a:t>
              </a:r>
              <a:r>
                <a:rPr lang="en-US" sz="800" dirty="0" err="1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rmsle</a:t>
              </a:r>
              <a:r>
                <a:rPr lang="en-US" sz="800" dirty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 </a:t>
              </a:r>
              <a:r>
                <a:rPr lang="en-US" sz="800" dirty="0" err="1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rrse</a:t>
              </a:r>
              <a:r>
                <a:rPr lang="en-US" sz="800" dirty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 </a:t>
              </a:r>
              <a:r>
                <a:rPr lang="en-US" sz="800" dirty="0" err="1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rsq</a:t>
              </a:r>
              <a:r>
                <a:rPr lang="en-US" sz="800" dirty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 </a:t>
              </a:r>
              <a:r>
                <a:rPr lang="en-US" sz="800" dirty="0" err="1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sae</a:t>
              </a:r>
              <a:r>
                <a:rPr lang="en-US" sz="800" dirty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 </a:t>
              </a:r>
              <a:r>
                <a:rPr lang="en-US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/>
              </a:r>
              <a:br>
                <a:rPr lang="en-US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</a:br>
              <a:r>
                <a:rPr lang="en-US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spearmanrho</a:t>
              </a:r>
              <a:r>
                <a:rPr lang="en-US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 </a:t>
              </a:r>
              <a:r>
                <a:rPr lang="en-US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sse</a:t>
              </a:r>
              <a:endParaRPr lang="en-GB" sz="800" dirty="0" smtClean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endParaRPr>
            </a:p>
            <a:p>
              <a:pPr marL="114300" indent="-114300" algn="l" rtl="0">
                <a:buClr>
                  <a:srgbClr val="1D4BA8"/>
                </a:buClr>
                <a:buFont typeface="Arial" panose="020B0604020202020204" pitchFamily="34" charset="0"/>
                <a:buChar char="•"/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US" sz="900" b="1" dirty="0" smtClean="0">
                  <a:solidFill>
                    <a:schemeClr val="bg1">
                      <a:lumMod val="65000"/>
                    </a:schemeClr>
                  </a:solidFill>
                  <a:latin typeface="Source Sans Pro" panose="020B0503030403020204" pitchFamily="34" charset="0"/>
                  <a:ea typeface="Source Sans Pro" panose="020B0503030403020204" pitchFamily="34" charset="0"/>
                </a:rPr>
                <a:t>cluster </a:t>
              </a:r>
              <a:r>
                <a:rPr lang="en-US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db</a:t>
              </a:r>
              <a:r>
                <a:rPr lang="en-US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 </a:t>
              </a:r>
              <a:r>
                <a:rPr lang="en-US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dunn</a:t>
              </a:r>
              <a:r>
                <a:rPr lang="en-US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 G1 G2 silhouette</a:t>
              </a:r>
            </a:p>
            <a:p>
              <a:pPr marL="114300" indent="-114300" algn="l" rtl="0">
                <a:buClr>
                  <a:srgbClr val="1D4BA8"/>
                </a:buClr>
                <a:buFont typeface="Arial" panose="020B0604020202020204" pitchFamily="34" charset="0"/>
                <a:buChar char="•"/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US" sz="900" b="1" dirty="0" err="1" smtClean="0">
                  <a:solidFill>
                    <a:schemeClr val="bg1">
                      <a:lumMod val="65000"/>
                    </a:schemeClr>
                  </a:solidFill>
                  <a:latin typeface="Source Sans Pro" panose="020B0503030403020204" pitchFamily="34" charset="0"/>
                  <a:ea typeface="Source Sans Pro" panose="020B0503030403020204" pitchFamily="34" charset="0"/>
                </a:rPr>
                <a:t>multilabel</a:t>
              </a:r>
              <a:r>
                <a:rPr lang="en-US" sz="900" b="1" dirty="0" smtClean="0">
                  <a:solidFill>
                    <a:schemeClr val="bg1">
                      <a:lumMod val="65000"/>
                    </a:schemeClr>
                  </a:solidFill>
                  <a:latin typeface="Source Sans Pro" panose="020B0503030403020204" pitchFamily="34" charset="0"/>
                  <a:ea typeface="Source Sans Pro" panose="020B0503030403020204" pitchFamily="34" charset="0"/>
                </a:rPr>
                <a:t> </a:t>
              </a:r>
              <a:r>
                <a:rPr lang="en-US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multilabel</a:t>
              </a:r>
              <a:r>
                <a:rPr lang="en-US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[.f1 .subset01 .</a:t>
              </a:r>
              <a:r>
                <a:rPr lang="en-US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tpr</a:t>
              </a:r>
              <a:r>
                <a:rPr lang="en-US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 .</a:t>
              </a:r>
              <a:r>
                <a:rPr lang="en-US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ppv</a:t>
              </a:r>
              <a:r>
                <a:rPr lang="en-US" sz="800" dirty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 </a:t>
              </a:r>
              <a:r>
                <a:rPr lang="en-US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/>
              </a:r>
              <a:br>
                <a:rPr lang="en-US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</a:br>
              <a:r>
                <a:rPr lang="en-US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.</a:t>
              </a:r>
              <a:r>
                <a:rPr lang="en-US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acc</a:t>
              </a:r>
              <a:r>
                <a:rPr lang="en-US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 .</a:t>
              </a:r>
              <a:r>
                <a:rPr lang="en-US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hamloss</a:t>
              </a:r>
              <a:r>
                <a:rPr lang="en-US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]</a:t>
              </a:r>
            </a:p>
            <a:p>
              <a:pPr marL="114300" indent="-114300" algn="l" rtl="0">
                <a:buClr>
                  <a:srgbClr val="1D4BA8"/>
                </a:buClr>
                <a:buFont typeface="Arial" panose="020B0604020202020204" pitchFamily="34" charset="0"/>
                <a:buChar char="•"/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US" sz="900" b="1" dirty="0" err="1" smtClean="0">
                  <a:solidFill>
                    <a:schemeClr val="bg1">
                      <a:lumMod val="65000"/>
                    </a:schemeClr>
                  </a:solidFill>
                  <a:latin typeface="Source Sans Pro" panose="020B0503030403020204" pitchFamily="34" charset="0"/>
                  <a:ea typeface="Source Sans Pro" panose="020B0503030403020204" pitchFamily="34" charset="0"/>
                </a:rPr>
                <a:t>costsens</a:t>
              </a:r>
              <a:r>
                <a:rPr lang="en-US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 </a:t>
              </a:r>
              <a:r>
                <a:rPr lang="en-US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mcp</a:t>
              </a:r>
              <a:r>
                <a:rPr lang="en-US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 </a:t>
              </a:r>
              <a:r>
                <a:rPr lang="en-US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meancosts</a:t>
              </a:r>
              <a:endParaRPr lang="en-US" sz="800" dirty="0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</a:endParaRPr>
            </a:p>
            <a:p>
              <a:pPr marL="114300" indent="-114300" algn="l" rtl="0">
                <a:buClr>
                  <a:srgbClr val="1D4BA8"/>
                </a:buClr>
                <a:buFont typeface="Arial" panose="020B0604020202020204" pitchFamily="34" charset="0"/>
                <a:buChar char="•"/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US" sz="900" b="1" dirty="0" err="1" smtClean="0">
                  <a:solidFill>
                    <a:schemeClr val="bg1">
                      <a:lumMod val="65000"/>
                    </a:schemeClr>
                  </a:solidFill>
                  <a:latin typeface="Source Sans Pro" panose="020B0503030403020204" pitchFamily="34" charset="0"/>
                  <a:ea typeface="Source Sans Pro" panose="020B0503030403020204" pitchFamily="34" charset="0"/>
                </a:rPr>
                <a:t>surv</a:t>
              </a:r>
              <a:r>
                <a:rPr lang="en-US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 </a:t>
              </a:r>
              <a:r>
                <a:rPr lang="en-US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cindex</a:t>
              </a:r>
              <a:endParaRPr lang="en-US" sz="800" dirty="0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</a:endParaRPr>
            </a:p>
            <a:p>
              <a:pPr marL="114300" indent="-114300" algn="l" rtl="0">
                <a:buClr>
                  <a:srgbClr val="1D4BA8"/>
                </a:buClr>
                <a:buFont typeface="Arial" panose="020B0604020202020204" pitchFamily="34" charset="0"/>
                <a:buChar char="•"/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US" sz="800" b="1" dirty="0" smtClean="0">
                  <a:solidFill>
                    <a:schemeClr val="bg1">
                      <a:lumMod val="65000"/>
                    </a:schemeClr>
                  </a:solidFill>
                  <a:latin typeface="Source Sans Pro" panose="020B0503030403020204" pitchFamily="34" charset="0"/>
                  <a:ea typeface="Source Sans Pro" panose="020B0503030403020204" pitchFamily="34" charset="0"/>
                </a:rPr>
                <a:t>other</a:t>
              </a:r>
              <a:r>
                <a:rPr lang="en-US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 </a:t>
              </a:r>
              <a:r>
                <a:rPr lang="en-US" sz="800" dirty="0" err="1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featperc</a:t>
              </a:r>
              <a:r>
                <a:rPr lang="en-US" sz="800" dirty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 </a:t>
              </a:r>
              <a:r>
                <a:rPr lang="en-US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timeboth</a:t>
              </a:r>
              <a:r>
                <a:rPr lang="en-US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 </a:t>
              </a:r>
              <a:r>
                <a:rPr lang="en-US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timepredict</a:t>
              </a:r>
              <a:r>
                <a:rPr lang="en-US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 </a:t>
              </a:r>
              <a:r>
                <a:rPr lang="en-US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</a:rPr>
                <a:t>timetrain</a:t>
              </a:r>
              <a:endParaRPr lang="en-US" sz="800" dirty="0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</a:endParaRPr>
            </a:p>
            <a:p>
              <a:pPr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endParaRPr lang="en-GB" sz="800" dirty="0" smtClean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endParaRPr>
            </a:p>
            <a:p>
              <a:pPr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Arial" panose="020B0604020202020204" pitchFamily="34" charset="0"/>
                </a:rPr>
                <a:t>For detailed performance data on classification tasks, use:</a:t>
              </a:r>
            </a:p>
            <a:p>
              <a:pPr marL="171450" indent="-171450" algn="l">
                <a:buClr>
                  <a:srgbClr val="1D4BA8"/>
                </a:buClr>
                <a:buFont typeface="Arial" panose="020B0604020202020204" pitchFamily="34" charset="0"/>
                <a:buChar char="•"/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calculateConfusionMatrix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(</a:t>
              </a:r>
              <a:r>
                <a:rPr lang="en-GB" sz="800" dirty="0" err="1" smtClean="0">
                  <a:solidFill>
                    <a:schemeClr val="tx1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pred</a:t>
              </a:r>
              <a:r>
                <a:rPr lang="en-GB" sz="800" dirty="0" smtClean="0">
                  <a:solidFill>
                    <a:schemeClr val="tx1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=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)</a:t>
              </a:r>
            </a:p>
            <a:p>
              <a:pPr marL="171450" indent="-171450" algn="l">
                <a:buClr>
                  <a:srgbClr val="1D4BA8"/>
                </a:buClr>
                <a:buFont typeface="Arial" panose="020B0604020202020204" pitchFamily="34" charset="0"/>
                <a:buChar char="•"/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calculateROCMeasures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(</a:t>
              </a:r>
              <a:r>
                <a:rPr lang="en-GB" sz="800" dirty="0" err="1" smtClean="0">
                  <a:solidFill>
                    <a:schemeClr val="tx1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pred</a:t>
              </a:r>
              <a:r>
                <a:rPr lang="en-GB" sz="800" dirty="0" smtClean="0">
                  <a:solidFill>
                    <a:schemeClr val="tx1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=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)</a:t>
              </a:r>
            </a:p>
            <a:p>
              <a:pPr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b="1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 </a:t>
              </a:r>
              <a:endParaRPr lang="en-GB" sz="1600" b="1" dirty="0" smtClean="0">
                <a:solidFill>
                  <a:schemeClr val="bg1">
                    <a:lumMod val="65000"/>
                  </a:schemeClr>
                </a:solidFill>
                <a:latin typeface="Source Sans Pro"/>
                <a:cs typeface="Arial" panose="020B0604020202020204" pitchFamily="34" charset="0"/>
              </a:endParaRPr>
            </a:p>
            <a:p>
              <a:pPr lvl="0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1600" b="1" dirty="0" smtClean="0">
                  <a:solidFill>
                    <a:schemeClr val="bg1">
                      <a:lumMod val="65000"/>
                    </a:schemeClr>
                  </a:solidFill>
                  <a:latin typeface="Source Sans Pro"/>
                  <a:cs typeface="Arial" panose="020B0604020202020204" pitchFamily="34" charset="0"/>
                </a:rPr>
                <a:t>Resampling a learner</a:t>
              </a:r>
              <a:endParaRPr lang="en-GB" sz="800" dirty="0" smtClean="0">
                <a:solidFill>
                  <a:srgbClr val="0070C0"/>
                </a:solidFill>
                <a:latin typeface="Consolas" panose="020B0609020204030204" pitchFamily="49" charset="0"/>
                <a:cs typeface="Arial" panose="020B0604020202020204" pitchFamily="34" charset="0"/>
              </a:endParaRPr>
            </a:p>
            <a:p>
              <a:pPr lvl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cs typeface="Arial" panose="020B0604020202020204" pitchFamily="34" charset="0"/>
                </a:rPr>
                <a:t>makeResampleDesc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cs typeface="Arial" panose="020B0604020202020204" pitchFamily="34" charset="0"/>
                </a:rPr>
                <a:t>(</a:t>
              </a:r>
              <a:r>
                <a:rPr lang="en-GB" sz="800" dirty="0" smtClean="0">
                  <a:solidFill>
                    <a:schemeClr val="tx1"/>
                  </a:solidFill>
                  <a:latin typeface="Consolas" panose="020B0609020204030204" pitchFamily="49" charset="0"/>
                  <a:cs typeface="Arial" panose="020B0604020202020204" pitchFamily="34" charset="0"/>
                </a:rPr>
                <a:t>method=,</a:t>
              </a:r>
              <a:r>
                <a:rPr lang="en-GB" sz="800" dirty="0" smtClean="0">
                  <a:solidFill>
                    <a:schemeClr val="bg1">
                      <a:lumMod val="50000"/>
                    </a:schemeClr>
                  </a:solidFill>
                  <a:latin typeface="Consolas" panose="020B0609020204030204" pitchFamily="49" charset="0"/>
                  <a:cs typeface="Arial" panose="020B0604020202020204" pitchFamily="34" charset="0"/>
                </a:rPr>
                <a:t>...</a:t>
              </a:r>
              <a:r>
                <a:rPr lang="en-GB" sz="800" dirty="0" smtClean="0">
                  <a:solidFill>
                    <a:schemeClr val="tx1"/>
                  </a:solidFill>
                  <a:latin typeface="Consolas" panose="020B0609020204030204" pitchFamily="49" charset="0"/>
                  <a:cs typeface="Arial" panose="020B0604020202020204" pitchFamily="34" charset="0"/>
                </a:rPr>
                <a:t>,</a:t>
              </a:r>
              <a:r>
                <a:rPr lang="en-GB" sz="800" dirty="0" smtClean="0">
                  <a:solidFill>
                    <a:schemeClr val="bg1">
                      <a:lumMod val="50000"/>
                    </a:schemeClr>
                  </a:solidFill>
                  <a:latin typeface="Consolas" panose="020B0609020204030204" pitchFamily="49" charset="0"/>
                  <a:cs typeface="Arial" panose="020B0604020202020204" pitchFamily="34" charset="0"/>
                </a:rPr>
                <a:t>stratify=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cs typeface="Arial" panose="020B0604020202020204" pitchFamily="34" charset="0"/>
                </a:rPr>
                <a:t>)</a:t>
              </a:r>
            </a:p>
            <a:p>
              <a:pPr lvl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cs typeface="Arial" panose="020B0604020202020204" pitchFamily="34" charset="0"/>
                </a:rPr>
                <a:t>method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Arial" panose="020B0604020202020204" pitchFamily="34" charset="0"/>
                </a:rPr>
                <a:t> must be one of the following:</a:t>
              </a:r>
              <a:endParaRPr lang="en-GB" sz="800" dirty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endParaRPr>
            </a:p>
            <a:p>
              <a:pPr marL="114300" lvl="0" indent="-114300" algn="l">
                <a:buClr>
                  <a:srgbClr val="1D4BA8"/>
                </a:buClr>
                <a:buFont typeface="Arial" panose="020B0604020202020204" pitchFamily="34" charset="0"/>
                <a:buChar char="•"/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"CV"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Arial" panose="020B0604020202020204" pitchFamily="34" charset="0"/>
                </a:rPr>
                <a:t> (cross-validation, for number of folds use </a:t>
              </a: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iters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=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Arial" panose="020B0604020202020204" pitchFamily="34" charset="0"/>
                </a:rPr>
                <a:t>)</a:t>
              </a:r>
            </a:p>
            <a:p>
              <a:pPr marL="114300" lvl="0" indent="-114300" algn="l">
                <a:buClr>
                  <a:srgbClr val="1D4BA8"/>
                </a:buClr>
                <a:buFont typeface="Arial" panose="020B0604020202020204" pitchFamily="34" charset="0"/>
                <a:buChar char="•"/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Arial" panose="020B0604020202020204" pitchFamily="34" charset="0"/>
                </a:rPr>
                <a:t> 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"LOO"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Arial" panose="020B0604020202020204" pitchFamily="34" charset="0"/>
                </a:rPr>
                <a:t> </a:t>
              </a:r>
              <a:r>
                <a:rPr lang="en-GB" sz="800" dirty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Arial" panose="020B0604020202020204" pitchFamily="34" charset="0"/>
                </a:rPr>
                <a:t>(leave-one-out cross-validation, for folds use </a:t>
              </a:r>
              <a:r>
                <a:rPr lang="en-GB" sz="800" dirty="0" err="1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iters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=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Arial" panose="020B0604020202020204" pitchFamily="34" charset="0"/>
                </a:rPr>
                <a:t>)</a:t>
              </a:r>
            </a:p>
            <a:p>
              <a:pPr marL="114300" lvl="0" indent="-114300" algn="l">
                <a:buClr>
                  <a:srgbClr val="1D4BA8"/>
                </a:buClr>
                <a:buFont typeface="Arial" panose="020B0604020202020204" pitchFamily="34" charset="0"/>
                <a:buChar char="•"/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"</a:t>
              </a: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RepCV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"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Arial" panose="020B0604020202020204" pitchFamily="34" charset="0"/>
                </a:rPr>
                <a:t> </a:t>
              </a:r>
              <a:r>
                <a:rPr lang="en-GB" sz="800" dirty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Arial" panose="020B0604020202020204" pitchFamily="34" charset="0"/>
                </a:rPr>
                <a:t>(repeated cross-validation, for number of repetitions use </a:t>
              </a:r>
              <a:r>
                <a:rPr lang="en-GB" sz="800" dirty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reps=</a:t>
              </a:r>
              <a:r>
                <a:rPr lang="en-GB" sz="800" dirty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Arial" panose="020B0604020202020204" pitchFamily="34" charset="0"/>
                </a:rPr>
                <a:t>, for folds use </a:t>
              </a:r>
              <a:r>
                <a:rPr lang="en-GB" sz="800" dirty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folds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=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Arial" panose="020B0604020202020204" pitchFamily="34" charset="0"/>
                </a:rPr>
                <a:t>)</a:t>
              </a:r>
              <a:endParaRPr lang="en-GB" sz="800" dirty="0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Arial" panose="020B0604020202020204" pitchFamily="34" charset="0"/>
              </a:endParaRPr>
            </a:p>
            <a:p>
              <a:pPr marL="114300" lvl="0" indent="-114300" algn="l">
                <a:buClr>
                  <a:srgbClr val="1D4BA8"/>
                </a:buClr>
                <a:buFont typeface="Arial" panose="020B0604020202020204" pitchFamily="34" charset="0"/>
                <a:buChar char="•"/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"Subsample"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Arial" panose="020B0604020202020204" pitchFamily="34" charset="0"/>
                </a:rPr>
                <a:t> </a:t>
              </a:r>
              <a:r>
                <a:rPr lang="en-GB" sz="800" dirty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Arial" panose="020B0604020202020204" pitchFamily="34" charset="0"/>
                </a:rPr>
                <a:t>(aka Monte-Carlo cross-validation, for iterations use </a:t>
              </a:r>
              <a:r>
                <a:rPr lang="en-GB" sz="800" dirty="0" err="1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iters</a:t>
              </a:r>
              <a:r>
                <a:rPr lang="en-GB" sz="800" dirty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=</a:t>
              </a:r>
              <a:r>
                <a:rPr lang="en-GB" sz="800" dirty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Arial" panose="020B0604020202020204" pitchFamily="34" charset="0"/>
                </a:rPr>
                <a:t>, for train % use </a:t>
              </a:r>
              <a:r>
                <a:rPr lang="en-GB" sz="800" dirty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split=</a:t>
              </a:r>
              <a:r>
                <a:rPr lang="en-GB" sz="800" dirty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Arial" panose="020B0604020202020204" pitchFamily="34" charset="0"/>
                </a:rPr>
                <a:t>)</a:t>
              </a:r>
              <a:endParaRPr lang="en-GB" sz="800" dirty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Arial" panose="020B0604020202020204" pitchFamily="34" charset="0"/>
              </a:endParaRPr>
            </a:p>
            <a:p>
              <a:pPr marL="114300" lvl="0" indent="-114300" algn="l">
                <a:buClr>
                  <a:srgbClr val="1D4BA8"/>
                </a:buClr>
                <a:buFont typeface="Arial" panose="020B0604020202020204" pitchFamily="34" charset="0"/>
                <a:buChar char="•"/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"Bootstrap"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Arial" panose="020B0604020202020204" pitchFamily="34" charset="0"/>
                </a:rPr>
                <a:t> </a:t>
              </a:r>
              <a:r>
                <a:rPr lang="en-GB" sz="800" dirty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Arial" panose="020B0604020202020204" pitchFamily="34" charset="0"/>
                </a:rPr>
                <a:t>(out-of-bag bootstrap, uses </a:t>
              </a:r>
              <a:r>
                <a:rPr lang="en-GB" sz="800" dirty="0" err="1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iters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=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Arial" panose="020B0604020202020204" pitchFamily="34" charset="0"/>
                </a:rPr>
                <a:t>)</a:t>
              </a:r>
            </a:p>
            <a:p>
              <a:pPr marL="114300" lvl="0" indent="-114300" algn="l">
                <a:buClr>
                  <a:srgbClr val="1D4BA8"/>
                </a:buClr>
                <a:buFont typeface="Arial" panose="020B0604020202020204" pitchFamily="34" charset="0"/>
                <a:buChar char="•"/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"Holdout"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Arial" panose="020B0604020202020204" pitchFamily="34" charset="0"/>
                </a:rPr>
                <a:t> </a:t>
              </a:r>
              <a:r>
                <a:rPr lang="en-GB" sz="800" dirty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Arial" panose="020B0604020202020204" pitchFamily="34" charset="0"/>
                </a:rPr>
                <a:t>(for train % use </a:t>
              </a:r>
              <a:r>
                <a:rPr lang="en-GB" sz="800" dirty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split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=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Arial" panose="020B0604020202020204" pitchFamily="34" charset="0"/>
                </a:rPr>
                <a:t>)</a:t>
              </a:r>
            </a:p>
            <a:p>
              <a:pPr lvl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stratify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Arial" panose="020B0604020202020204" pitchFamily="34" charset="0"/>
                </a:rPr>
                <a:t> keeps target proportions consistent across samples.</a:t>
              </a:r>
            </a:p>
            <a:p>
              <a:pPr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endParaRPr lang="en-GB" sz="800" dirty="0" smtClean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endParaRPr>
            </a:p>
            <a:p>
              <a:pPr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makeResampleInstance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(</a:t>
              </a:r>
              <a:r>
                <a:rPr lang="en-GB" sz="800" dirty="0" err="1" smtClean="0">
                  <a:solidFill>
                    <a:schemeClr val="tx1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desc</a:t>
              </a:r>
              <a:r>
                <a:rPr lang="en-GB" sz="800" dirty="0">
                  <a:solidFill>
                    <a:schemeClr val="tx1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=,task</a:t>
              </a:r>
              <a:r>
                <a:rPr lang="en-GB" sz="800" dirty="0" smtClean="0">
                  <a:solidFill>
                    <a:schemeClr val="tx1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=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)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Arial" panose="020B0604020202020204" pitchFamily="34" charset="0"/>
                </a:rPr>
                <a:t> can reduce noise by ensuring the resampling is done identically every time.</a:t>
              </a:r>
              <a:endParaRPr lang="en-GB" sz="800" dirty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endParaRPr>
            </a:p>
            <a:p>
              <a:pPr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endParaRPr lang="en-GB" sz="800" dirty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Arial" panose="020B0604020202020204" pitchFamily="34" charset="0"/>
              </a:endParaRPr>
            </a:p>
            <a:p>
              <a:pPr lvl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resample(</a:t>
              </a:r>
              <a:r>
                <a:rPr lang="en-GB" sz="800" dirty="0" smtClean="0">
                  <a:solidFill>
                    <a:schemeClr val="tx1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learner</a:t>
              </a:r>
              <a:r>
                <a:rPr lang="en-GB" sz="800" dirty="0">
                  <a:solidFill>
                    <a:schemeClr val="tx1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=,task=,resampling=,measures=</a:t>
              </a:r>
              <a:r>
                <a:rPr lang="en-GB" sz="800" dirty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)</a:t>
              </a:r>
            </a:p>
            <a:p>
              <a:pPr lvl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Arial" panose="020B0604020202020204" pitchFamily="34" charset="0"/>
                </a:rPr>
                <a:t>Train </a:t>
              </a:r>
              <a:r>
                <a:rPr lang="en-GB" sz="800" dirty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Arial" panose="020B0604020202020204" pitchFamily="34" charset="0"/>
                </a:rPr>
                <a:t>and test model according to specified resampling 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Arial" panose="020B0604020202020204" pitchFamily="34" charset="0"/>
                </a:rPr>
                <a:t>strategy. </a:t>
              </a:r>
            </a:p>
            <a:p>
              <a:pPr lvl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endParaRPr lang="en-GB" sz="800" dirty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endParaRPr>
            </a:p>
            <a:p>
              <a:pPr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err="1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Arial" panose="020B0604020202020204" pitchFamily="34" charset="0"/>
                </a:rPr>
                <a:t>mlr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Arial" panose="020B0604020202020204" pitchFamily="34" charset="0"/>
                </a:rPr>
                <a:t> includes several pre-specified resample descriptions: 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cv2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Arial" panose="020B0604020202020204" pitchFamily="34" charset="0"/>
                </a:rPr>
                <a:t> (2-fold cross-validation), 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cv3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Arial" panose="020B0604020202020204" pitchFamily="34" charset="0"/>
                </a:rPr>
                <a:t>, 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cv5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Arial" panose="020B0604020202020204" pitchFamily="34" charset="0"/>
                </a:rPr>
                <a:t>, 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cv10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Arial" panose="020B0604020202020204" pitchFamily="34" charset="0"/>
                </a:rPr>
                <a:t>, </a:t>
              </a: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hout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Arial" panose="020B0604020202020204" pitchFamily="34" charset="0"/>
                </a:rPr>
                <a:t> (holdout with split 2/3 for training, 1/3 for testing). </a:t>
              </a:r>
            </a:p>
            <a:p>
              <a:pPr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Arial" panose="020B0604020202020204" pitchFamily="34" charset="0"/>
                </a:rPr>
                <a:t>Convenience functions also exist to 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resample()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Arial" panose="020B0604020202020204" pitchFamily="34" charset="0"/>
                </a:rPr>
                <a:t> with a specific strategy: </a:t>
              </a: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crossval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()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Arial" panose="020B0604020202020204" pitchFamily="34" charset="0"/>
                </a:rPr>
                <a:t>, </a:t>
              </a: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repcv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()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Arial" panose="020B0604020202020204" pitchFamily="34" charset="0"/>
                </a:rPr>
                <a:t>, 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holdout()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Arial" panose="020B0604020202020204" pitchFamily="34" charset="0"/>
                </a:rPr>
                <a:t>, 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subsample()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Arial" panose="020B0604020202020204" pitchFamily="34" charset="0"/>
                </a:rPr>
                <a:t>, </a:t>
              </a:r>
              <a:r>
                <a:rPr lang="en-GB" sz="800" spc="-2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bootstrapOOB</a:t>
              </a:r>
              <a:r>
                <a:rPr lang="en-GB" sz="800" spc="-2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()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Arial" panose="020B0604020202020204" pitchFamily="34" charset="0"/>
                </a:rPr>
                <a:t>,</a:t>
              </a:r>
              <a:r>
                <a:rPr lang="en-GB" sz="800" spc="-2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Arial" panose="020B0604020202020204" pitchFamily="34" charset="0"/>
                </a:rPr>
                <a:t> </a:t>
              </a:r>
              <a:r>
                <a:rPr lang="en-GB" sz="800" spc="-2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bootstrapB632()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Arial" panose="020B0604020202020204" pitchFamily="34" charset="0"/>
                </a:rPr>
                <a:t>,</a:t>
              </a:r>
              <a:r>
                <a:rPr lang="en-GB" sz="800" spc="-2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Arial" panose="020B0604020202020204" pitchFamily="34" charset="0"/>
                </a:rPr>
                <a:t> </a:t>
              </a:r>
              <a:r>
                <a:rPr lang="en-GB" sz="800" spc="-2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Arial" panose="020B0604020202020204" pitchFamily="34" charset="0"/>
                </a:rPr>
                <a:t>bootstrapB632plus()</a:t>
              </a:r>
              <a:endParaRPr lang="en-GB" sz="800" spc="-20" dirty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endParaRPr>
            </a:p>
            <a:p>
              <a:pPr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endParaRPr lang="en-GB" sz="800" dirty="0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06" name="Group 105"/>
          <p:cNvGrpSpPr/>
          <p:nvPr/>
        </p:nvGrpSpPr>
        <p:grpSpPr>
          <a:xfrm>
            <a:off x="3891871" y="4394887"/>
            <a:ext cx="955524" cy="264095"/>
            <a:chOff x="4021098" y="4753102"/>
            <a:chExt cx="955524" cy="264095"/>
          </a:xfrm>
        </p:grpSpPr>
        <p:sp>
          <p:nvSpPr>
            <p:cNvPr id="102" name="Rectangle 101"/>
            <p:cNvSpPr/>
            <p:nvPr/>
          </p:nvSpPr>
          <p:spPr>
            <a:xfrm>
              <a:off x="4192673" y="4781056"/>
              <a:ext cx="491996" cy="209052"/>
            </a:xfrm>
            <a:prstGeom prst="rect">
              <a:avLst/>
            </a:prstGeom>
            <a:gradFill flip="none" rotWithShape="1">
              <a:gsLst>
                <a:gs pos="0">
                  <a:srgbClr val="1D4BA8">
                    <a:tint val="66000"/>
                    <a:satMod val="160000"/>
                  </a:srgbClr>
                </a:gs>
                <a:gs pos="50000">
                  <a:srgbClr val="1D4BA8">
                    <a:tint val="44500"/>
                    <a:satMod val="160000"/>
                  </a:srgbClr>
                </a:gs>
                <a:gs pos="100000">
                  <a:srgbClr val="1D4BA8">
                    <a:tint val="23500"/>
                    <a:satMod val="160000"/>
                  </a:srgbClr>
                </a:gs>
              </a:gsLst>
              <a:lin ang="0" scaled="1"/>
              <a:tileRect/>
            </a:gradFill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no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05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104" name="TextBox 103"/>
            <p:cNvSpPr txBox="1"/>
            <p:nvPr/>
          </p:nvSpPr>
          <p:spPr>
            <a:xfrm>
              <a:off x="4021098" y="4753102"/>
              <a:ext cx="190642" cy="264094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10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Light"/>
                </a:rPr>
                <a:t>0</a:t>
              </a:r>
              <a:endParaRPr kumimoji="0" lang="en-US" sz="10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105" name="TextBox 104"/>
            <p:cNvSpPr txBox="1"/>
            <p:nvPr/>
          </p:nvSpPr>
          <p:spPr>
            <a:xfrm>
              <a:off x="4622171" y="4753103"/>
              <a:ext cx="354451" cy="264094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10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Light"/>
                </a:rPr>
                <a:t>100</a:t>
              </a:r>
              <a:endParaRPr kumimoji="0" lang="en-US" sz="10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113" name="TextBox 112"/>
            <p:cNvSpPr txBox="1"/>
            <p:nvPr/>
          </p:nvSpPr>
          <p:spPr>
            <a:xfrm>
              <a:off x="4343852" y="4753102"/>
              <a:ext cx="314020" cy="264094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10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Light"/>
                </a:rPr>
                <a:t>63</a:t>
              </a:r>
              <a:endParaRPr kumimoji="0" lang="en-US" sz="10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</p:grpSp>
      <p:grpSp>
        <p:nvGrpSpPr>
          <p:cNvPr id="118" name="Group 117"/>
          <p:cNvGrpSpPr/>
          <p:nvPr/>
        </p:nvGrpSpPr>
        <p:grpSpPr>
          <a:xfrm>
            <a:off x="4045822" y="4690781"/>
            <a:ext cx="578244" cy="343838"/>
            <a:chOff x="4156604" y="4310401"/>
            <a:chExt cx="578244" cy="343838"/>
          </a:xfrm>
        </p:grpSpPr>
        <p:sp>
          <p:nvSpPr>
            <p:cNvPr id="119" name="Rectangle 118"/>
            <p:cNvSpPr/>
            <p:nvPr/>
          </p:nvSpPr>
          <p:spPr>
            <a:xfrm>
              <a:off x="4156604" y="4445187"/>
              <a:ext cx="168803" cy="209052"/>
            </a:xfrm>
            <a:prstGeom prst="rect">
              <a:avLst/>
            </a:prstGeom>
            <a:solidFill>
              <a:srgbClr val="1D4BA8"/>
            </a:solidFill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no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1200" b="0" i="0" u="none" strike="noStrike" cap="none" spc="0" normalizeH="0" baseline="0" dirty="0" smtClean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Light"/>
                </a:rPr>
                <a:t>A</a:t>
              </a:r>
              <a:endParaRPr kumimoji="0" lang="en-US" sz="1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120" name="Rectangle 119"/>
            <p:cNvSpPr/>
            <p:nvPr/>
          </p:nvSpPr>
          <p:spPr>
            <a:xfrm>
              <a:off x="4566045" y="4439818"/>
              <a:ext cx="168803" cy="209052"/>
            </a:xfrm>
            <a:prstGeom prst="rect">
              <a:avLst/>
            </a:prstGeom>
            <a:solidFill>
              <a:srgbClr val="1D4BA8"/>
            </a:solidFill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no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1200" b="0" i="0" u="none" strike="noStrike" cap="none" spc="0" normalizeH="0" baseline="0" dirty="0" smtClean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Light"/>
                </a:rPr>
                <a:t>C</a:t>
              </a:r>
              <a:endParaRPr kumimoji="0" lang="en-US" sz="1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cxnSp>
          <p:nvCxnSpPr>
            <p:cNvPr id="121" name="Straight Arrow Connector 120"/>
            <p:cNvCxnSpPr>
              <a:endCxn id="119" idx="0"/>
            </p:cNvCxnSpPr>
            <p:nvPr/>
          </p:nvCxnSpPr>
          <p:spPr>
            <a:xfrm flipH="1">
              <a:off x="4241006" y="4328677"/>
              <a:ext cx="102654" cy="116510"/>
            </a:xfrm>
            <a:prstGeom prst="straightConnector1">
              <a:avLst/>
            </a:prstGeom>
            <a:noFill/>
            <a:ln w="25400" cap="flat">
              <a:solidFill>
                <a:srgbClr val="000000"/>
              </a:solidFill>
              <a:prstDash val="solid"/>
              <a:miter lim="400000"/>
              <a:tailEnd type="triangle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sp>
          <p:nvSpPr>
            <p:cNvPr id="122" name="Rectangle 121"/>
            <p:cNvSpPr/>
            <p:nvPr/>
          </p:nvSpPr>
          <p:spPr>
            <a:xfrm>
              <a:off x="4361325" y="4445187"/>
              <a:ext cx="168803" cy="209052"/>
            </a:xfrm>
            <a:prstGeom prst="rect">
              <a:avLst/>
            </a:prstGeom>
            <a:solidFill>
              <a:srgbClr val="1D4BA8"/>
            </a:solidFill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no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1200" b="0" i="0" u="none" strike="noStrike" cap="none" spc="0" normalizeH="0" baseline="0" dirty="0" smtClean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Light"/>
                </a:rPr>
                <a:t>B</a:t>
              </a:r>
              <a:endParaRPr kumimoji="0" lang="en-US" sz="1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cxnSp>
          <p:nvCxnSpPr>
            <p:cNvPr id="277" name="Straight Arrow Connector 276"/>
            <p:cNvCxnSpPr/>
            <p:nvPr/>
          </p:nvCxnSpPr>
          <p:spPr>
            <a:xfrm flipH="1">
              <a:off x="4436829" y="4310401"/>
              <a:ext cx="1957" cy="134786"/>
            </a:xfrm>
            <a:prstGeom prst="straightConnector1">
              <a:avLst/>
            </a:prstGeom>
            <a:noFill/>
            <a:ln w="25400" cap="flat">
              <a:solidFill>
                <a:srgbClr val="000000"/>
              </a:solidFill>
              <a:prstDash val="solid"/>
              <a:miter lim="400000"/>
              <a:tailEnd type="triangle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</p:grpSp>
      <p:grpSp>
        <p:nvGrpSpPr>
          <p:cNvPr id="146" name="Group 145"/>
          <p:cNvGrpSpPr/>
          <p:nvPr/>
        </p:nvGrpSpPr>
        <p:grpSpPr>
          <a:xfrm>
            <a:off x="4016012" y="5119329"/>
            <a:ext cx="637864" cy="431800"/>
            <a:chOff x="4016012" y="5511800"/>
            <a:chExt cx="637864" cy="431800"/>
          </a:xfrm>
        </p:grpSpPr>
        <p:sp>
          <p:nvSpPr>
            <p:cNvPr id="123" name="Rectangle 122"/>
            <p:cNvSpPr/>
            <p:nvPr/>
          </p:nvSpPr>
          <p:spPr>
            <a:xfrm>
              <a:off x="4016012" y="5511800"/>
              <a:ext cx="637864" cy="431800"/>
            </a:xfrm>
            <a:prstGeom prst="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124" name="Plus 123"/>
            <p:cNvSpPr/>
            <p:nvPr/>
          </p:nvSpPr>
          <p:spPr>
            <a:xfrm>
              <a:off x="4082513" y="5575060"/>
              <a:ext cx="67240" cy="72735"/>
            </a:xfrm>
            <a:prstGeom prst="mathPlus">
              <a:avLst/>
            </a:prstGeom>
            <a:blipFill rotWithShape="1">
              <a:blip r:embed="rId9"/>
              <a:srcRect/>
              <a:tile tx="0" ty="0" sx="100000" sy="100000" flip="none" algn="tl"/>
            </a:blipFill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125" name="Plus 124"/>
            <p:cNvSpPr/>
            <p:nvPr/>
          </p:nvSpPr>
          <p:spPr>
            <a:xfrm>
              <a:off x="4147385" y="5641378"/>
              <a:ext cx="67240" cy="72735"/>
            </a:xfrm>
            <a:prstGeom prst="mathPlus">
              <a:avLst/>
            </a:prstGeom>
            <a:blipFill rotWithShape="1">
              <a:blip r:embed="rId9"/>
              <a:srcRect/>
              <a:tile tx="0" ty="0" sx="100000" sy="100000" flip="none" algn="tl"/>
            </a:blipFill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126" name="Plus 125"/>
            <p:cNvSpPr/>
            <p:nvPr/>
          </p:nvSpPr>
          <p:spPr>
            <a:xfrm>
              <a:off x="4063446" y="5689803"/>
              <a:ext cx="67240" cy="72735"/>
            </a:xfrm>
            <a:prstGeom prst="mathPlus">
              <a:avLst/>
            </a:prstGeom>
            <a:blipFill rotWithShape="1">
              <a:blip r:embed="rId9"/>
              <a:srcRect/>
              <a:tile tx="0" ty="0" sx="100000" sy="100000" flip="none" algn="tl"/>
            </a:blipFill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127" name="Plus 126"/>
            <p:cNvSpPr/>
            <p:nvPr/>
          </p:nvSpPr>
          <p:spPr>
            <a:xfrm>
              <a:off x="4199258" y="5764874"/>
              <a:ext cx="67240" cy="72735"/>
            </a:xfrm>
            <a:prstGeom prst="mathPlus">
              <a:avLst/>
            </a:prstGeom>
            <a:blipFill rotWithShape="1">
              <a:blip r:embed="rId9"/>
              <a:srcRect/>
              <a:tile tx="0" ty="0" sx="100000" sy="100000" flip="none" algn="tl"/>
            </a:blipFill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128" name="Plus 127"/>
            <p:cNvSpPr/>
            <p:nvPr/>
          </p:nvSpPr>
          <p:spPr>
            <a:xfrm>
              <a:off x="4278758" y="5615412"/>
              <a:ext cx="67240" cy="72735"/>
            </a:xfrm>
            <a:prstGeom prst="mathPlus">
              <a:avLst/>
            </a:prstGeom>
            <a:blipFill rotWithShape="1">
              <a:blip r:embed="rId9"/>
              <a:srcRect/>
              <a:tile tx="0" ty="0" sx="100000" sy="100000" flip="none" algn="tl"/>
            </a:blipFill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129" name="Plus 128"/>
            <p:cNvSpPr/>
            <p:nvPr/>
          </p:nvSpPr>
          <p:spPr>
            <a:xfrm>
              <a:off x="4357694" y="5729684"/>
              <a:ext cx="67240" cy="72735"/>
            </a:xfrm>
            <a:prstGeom prst="mathPlus">
              <a:avLst/>
            </a:prstGeom>
            <a:blipFill rotWithShape="1">
              <a:blip r:embed="rId9"/>
              <a:srcRect/>
              <a:tile tx="0" ty="0" sx="100000" sy="100000" flip="none" algn="tl"/>
            </a:blipFill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130" name="Plus 129"/>
            <p:cNvSpPr/>
            <p:nvPr/>
          </p:nvSpPr>
          <p:spPr>
            <a:xfrm>
              <a:off x="4471368" y="5551671"/>
              <a:ext cx="67240" cy="72735"/>
            </a:xfrm>
            <a:prstGeom prst="mathPlus">
              <a:avLst/>
            </a:prstGeom>
            <a:blipFill rotWithShape="1">
              <a:blip r:embed="rId9"/>
              <a:srcRect/>
              <a:tile tx="0" ty="0" sx="100000" sy="100000" flip="none" algn="tl"/>
            </a:blipFill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131" name="Plus 130"/>
            <p:cNvSpPr/>
            <p:nvPr/>
          </p:nvSpPr>
          <p:spPr>
            <a:xfrm>
              <a:off x="4530689" y="5641378"/>
              <a:ext cx="67240" cy="72735"/>
            </a:xfrm>
            <a:prstGeom prst="mathPlus">
              <a:avLst/>
            </a:prstGeom>
            <a:blipFill rotWithShape="1">
              <a:blip r:embed="rId9"/>
              <a:srcRect/>
              <a:tile tx="0" ty="0" sx="100000" sy="100000" flip="none" algn="tl"/>
            </a:blipFill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132" name="Plus 131"/>
            <p:cNvSpPr/>
            <p:nvPr/>
          </p:nvSpPr>
          <p:spPr>
            <a:xfrm>
              <a:off x="4480891" y="5792489"/>
              <a:ext cx="67240" cy="72735"/>
            </a:xfrm>
            <a:prstGeom prst="mathPlus">
              <a:avLst/>
            </a:prstGeom>
            <a:blipFill rotWithShape="1">
              <a:blip r:embed="rId9"/>
              <a:srcRect/>
              <a:tile tx="0" ty="0" sx="100000" sy="100000" flip="none" algn="tl"/>
            </a:blipFill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133" name="Plus 132"/>
            <p:cNvSpPr/>
            <p:nvPr/>
          </p:nvSpPr>
          <p:spPr>
            <a:xfrm>
              <a:off x="4432197" y="5649059"/>
              <a:ext cx="67240" cy="72735"/>
            </a:xfrm>
            <a:prstGeom prst="mathPlus">
              <a:avLst/>
            </a:prstGeom>
            <a:blipFill rotWithShape="1">
              <a:blip r:embed="rId9"/>
              <a:srcRect/>
              <a:tile tx="0" ty="0" sx="100000" sy="100000" flip="none" algn="tl"/>
            </a:blipFill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134" name="Plus 133"/>
            <p:cNvSpPr/>
            <p:nvPr/>
          </p:nvSpPr>
          <p:spPr>
            <a:xfrm>
              <a:off x="4328004" y="5649058"/>
              <a:ext cx="67240" cy="72735"/>
            </a:xfrm>
            <a:prstGeom prst="mathPlus">
              <a:avLst/>
            </a:prstGeom>
            <a:blipFill rotWithShape="1">
              <a:blip r:embed="rId9"/>
              <a:srcRect/>
              <a:tile tx="0" ty="0" sx="100000" sy="100000" flip="none" algn="tl"/>
            </a:blipFill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135" name="Plus 134"/>
            <p:cNvSpPr/>
            <p:nvPr/>
          </p:nvSpPr>
          <p:spPr>
            <a:xfrm>
              <a:off x="4310065" y="5702799"/>
              <a:ext cx="67240" cy="72735"/>
            </a:xfrm>
            <a:prstGeom prst="mathPlus">
              <a:avLst/>
            </a:prstGeom>
            <a:blipFill rotWithShape="1">
              <a:blip r:embed="rId9"/>
              <a:srcRect/>
              <a:tile tx="0" ty="0" sx="100000" sy="100000" flip="none" algn="tl"/>
            </a:blipFill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136" name="Plus 135"/>
            <p:cNvSpPr/>
            <p:nvPr/>
          </p:nvSpPr>
          <p:spPr>
            <a:xfrm>
              <a:off x="4265831" y="5662458"/>
              <a:ext cx="67240" cy="72735"/>
            </a:xfrm>
            <a:prstGeom prst="mathPlus">
              <a:avLst/>
            </a:prstGeom>
            <a:blipFill rotWithShape="1">
              <a:blip r:embed="rId9"/>
              <a:srcRect/>
              <a:tile tx="0" ty="0" sx="100000" sy="100000" flip="none" algn="tl"/>
            </a:blipFill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137" name="Plus 136"/>
            <p:cNvSpPr/>
            <p:nvPr/>
          </p:nvSpPr>
          <p:spPr>
            <a:xfrm>
              <a:off x="4109378" y="5702060"/>
              <a:ext cx="67240" cy="72735"/>
            </a:xfrm>
            <a:prstGeom prst="mathPlus">
              <a:avLst/>
            </a:prstGeom>
            <a:blipFill rotWithShape="1">
              <a:blip r:embed="rId9"/>
              <a:srcRect/>
              <a:tile tx="0" ty="0" sx="100000" sy="100000" flip="none" algn="tl"/>
            </a:blipFill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138" name="Plus 137"/>
            <p:cNvSpPr/>
            <p:nvPr/>
          </p:nvSpPr>
          <p:spPr>
            <a:xfrm>
              <a:off x="4125319" y="5606536"/>
              <a:ext cx="67240" cy="72735"/>
            </a:xfrm>
            <a:prstGeom prst="mathPlus">
              <a:avLst/>
            </a:prstGeom>
            <a:blipFill rotWithShape="1">
              <a:blip r:embed="rId9"/>
              <a:srcRect/>
              <a:tile tx="0" ty="0" sx="100000" sy="100000" flip="none" algn="tl"/>
            </a:blipFill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139" name="Plus 138"/>
            <p:cNvSpPr/>
            <p:nvPr/>
          </p:nvSpPr>
          <p:spPr>
            <a:xfrm>
              <a:off x="4092511" y="5644807"/>
              <a:ext cx="67240" cy="72735"/>
            </a:xfrm>
            <a:prstGeom prst="mathPlus">
              <a:avLst/>
            </a:prstGeom>
            <a:blipFill rotWithShape="1">
              <a:blip r:embed="rId9"/>
              <a:srcRect/>
              <a:tile tx="0" ty="0" sx="100000" sy="100000" flip="none" algn="tl"/>
            </a:blipFill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140" name="Plus 139"/>
            <p:cNvSpPr/>
            <p:nvPr/>
          </p:nvSpPr>
          <p:spPr>
            <a:xfrm>
              <a:off x="4545756" y="5746053"/>
              <a:ext cx="67240" cy="72735"/>
            </a:xfrm>
            <a:prstGeom prst="mathPlus">
              <a:avLst/>
            </a:prstGeom>
            <a:blipFill rotWithShape="1">
              <a:blip r:embed="rId9"/>
              <a:srcRect/>
              <a:tile tx="0" ty="0" sx="100000" sy="100000" flip="none" algn="tl"/>
            </a:blipFill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141" name="Plus 140"/>
            <p:cNvSpPr/>
            <p:nvPr/>
          </p:nvSpPr>
          <p:spPr>
            <a:xfrm>
              <a:off x="4521822" y="5823911"/>
              <a:ext cx="67240" cy="72735"/>
            </a:xfrm>
            <a:prstGeom prst="mathPlus">
              <a:avLst/>
            </a:prstGeom>
            <a:blipFill rotWithShape="1">
              <a:blip r:embed="rId9"/>
              <a:srcRect/>
              <a:tile tx="0" ty="0" sx="100000" sy="100000" flip="none" algn="tl"/>
            </a:blipFill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142" name="Plus 141"/>
            <p:cNvSpPr/>
            <p:nvPr/>
          </p:nvSpPr>
          <p:spPr>
            <a:xfrm>
              <a:off x="4480891" y="5735196"/>
              <a:ext cx="67240" cy="72735"/>
            </a:xfrm>
            <a:prstGeom prst="mathPlus">
              <a:avLst/>
            </a:prstGeom>
            <a:blipFill rotWithShape="1">
              <a:blip r:embed="rId9"/>
              <a:srcRect/>
              <a:tile tx="0" ty="0" sx="100000" sy="100000" flip="none" algn="tl"/>
            </a:blipFill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143" name="Freeform 142"/>
            <p:cNvSpPr/>
            <p:nvPr/>
          </p:nvSpPr>
          <p:spPr>
            <a:xfrm>
              <a:off x="4052888" y="5553040"/>
              <a:ext cx="228600" cy="309598"/>
            </a:xfrm>
            <a:custGeom>
              <a:avLst/>
              <a:gdLst>
                <a:gd name="connsiteX0" fmla="*/ 71437 w 228600"/>
                <a:gd name="connsiteY0" fmla="*/ 35 h 309598"/>
                <a:gd name="connsiteX1" fmla="*/ 26193 w 228600"/>
                <a:gd name="connsiteY1" fmla="*/ 28610 h 309598"/>
                <a:gd name="connsiteX2" fmla="*/ 19050 w 228600"/>
                <a:gd name="connsiteY2" fmla="*/ 42898 h 309598"/>
                <a:gd name="connsiteX3" fmla="*/ 9525 w 228600"/>
                <a:gd name="connsiteY3" fmla="*/ 64329 h 309598"/>
                <a:gd name="connsiteX4" fmla="*/ 4762 w 228600"/>
                <a:gd name="connsiteY4" fmla="*/ 80998 h 309598"/>
                <a:gd name="connsiteX5" fmla="*/ 0 w 228600"/>
                <a:gd name="connsiteY5" fmla="*/ 97666 h 309598"/>
                <a:gd name="connsiteX6" fmla="*/ 2381 w 228600"/>
                <a:gd name="connsiteY6" fmla="*/ 142910 h 309598"/>
                <a:gd name="connsiteX7" fmla="*/ 4762 w 228600"/>
                <a:gd name="connsiteY7" fmla="*/ 161960 h 309598"/>
                <a:gd name="connsiteX8" fmla="*/ 7143 w 228600"/>
                <a:gd name="connsiteY8" fmla="*/ 192916 h 309598"/>
                <a:gd name="connsiteX9" fmla="*/ 11906 w 228600"/>
                <a:gd name="connsiteY9" fmla="*/ 219110 h 309598"/>
                <a:gd name="connsiteX10" fmla="*/ 23812 w 228600"/>
                <a:gd name="connsiteY10" fmla="*/ 233398 h 309598"/>
                <a:gd name="connsiteX11" fmla="*/ 30956 w 228600"/>
                <a:gd name="connsiteY11" fmla="*/ 238160 h 309598"/>
                <a:gd name="connsiteX12" fmla="*/ 50006 w 228600"/>
                <a:gd name="connsiteY12" fmla="*/ 252448 h 309598"/>
                <a:gd name="connsiteX13" fmla="*/ 57150 w 228600"/>
                <a:gd name="connsiteY13" fmla="*/ 257210 h 309598"/>
                <a:gd name="connsiteX14" fmla="*/ 73818 w 228600"/>
                <a:gd name="connsiteY14" fmla="*/ 269116 h 309598"/>
                <a:gd name="connsiteX15" fmla="*/ 78581 w 228600"/>
                <a:gd name="connsiteY15" fmla="*/ 276260 h 309598"/>
                <a:gd name="connsiteX16" fmla="*/ 92868 w 228600"/>
                <a:gd name="connsiteY16" fmla="*/ 288166 h 309598"/>
                <a:gd name="connsiteX17" fmla="*/ 100012 w 228600"/>
                <a:gd name="connsiteY17" fmla="*/ 290548 h 309598"/>
                <a:gd name="connsiteX18" fmla="*/ 114300 w 228600"/>
                <a:gd name="connsiteY18" fmla="*/ 297691 h 309598"/>
                <a:gd name="connsiteX19" fmla="*/ 130968 w 228600"/>
                <a:gd name="connsiteY19" fmla="*/ 307216 h 309598"/>
                <a:gd name="connsiteX20" fmla="*/ 150018 w 228600"/>
                <a:gd name="connsiteY20" fmla="*/ 309598 h 309598"/>
                <a:gd name="connsiteX21" fmla="*/ 190500 w 228600"/>
                <a:gd name="connsiteY21" fmla="*/ 307216 h 309598"/>
                <a:gd name="connsiteX22" fmla="*/ 197643 w 228600"/>
                <a:gd name="connsiteY22" fmla="*/ 304835 h 309598"/>
                <a:gd name="connsiteX23" fmla="*/ 211931 w 228600"/>
                <a:gd name="connsiteY23" fmla="*/ 295310 h 309598"/>
                <a:gd name="connsiteX24" fmla="*/ 219075 w 228600"/>
                <a:gd name="connsiteY24" fmla="*/ 290548 h 309598"/>
                <a:gd name="connsiteX25" fmla="*/ 226218 w 228600"/>
                <a:gd name="connsiteY25" fmla="*/ 269116 h 309598"/>
                <a:gd name="connsiteX26" fmla="*/ 228600 w 228600"/>
                <a:gd name="connsiteY26" fmla="*/ 261973 h 309598"/>
                <a:gd name="connsiteX27" fmla="*/ 226218 w 228600"/>
                <a:gd name="connsiteY27" fmla="*/ 219110 h 309598"/>
                <a:gd name="connsiteX28" fmla="*/ 221456 w 228600"/>
                <a:gd name="connsiteY28" fmla="*/ 204823 h 309598"/>
                <a:gd name="connsiteX29" fmla="*/ 216693 w 228600"/>
                <a:gd name="connsiteY29" fmla="*/ 190535 h 309598"/>
                <a:gd name="connsiteX30" fmla="*/ 211931 w 228600"/>
                <a:gd name="connsiteY30" fmla="*/ 183391 h 309598"/>
                <a:gd name="connsiteX31" fmla="*/ 204787 w 228600"/>
                <a:gd name="connsiteY31" fmla="*/ 169104 h 309598"/>
                <a:gd name="connsiteX32" fmla="*/ 202406 w 228600"/>
                <a:gd name="connsiteY32" fmla="*/ 161960 h 309598"/>
                <a:gd name="connsiteX33" fmla="*/ 188118 w 228600"/>
                <a:gd name="connsiteY33" fmla="*/ 140529 h 309598"/>
                <a:gd name="connsiteX34" fmla="*/ 183356 w 228600"/>
                <a:gd name="connsiteY34" fmla="*/ 133385 h 309598"/>
                <a:gd name="connsiteX35" fmla="*/ 176212 w 228600"/>
                <a:gd name="connsiteY35" fmla="*/ 119098 h 309598"/>
                <a:gd name="connsiteX36" fmla="*/ 169068 w 228600"/>
                <a:gd name="connsiteY36" fmla="*/ 102429 h 309598"/>
                <a:gd name="connsiteX37" fmla="*/ 161925 w 228600"/>
                <a:gd name="connsiteY37" fmla="*/ 95285 h 309598"/>
                <a:gd name="connsiteX38" fmla="*/ 157162 w 228600"/>
                <a:gd name="connsiteY38" fmla="*/ 88141 h 309598"/>
                <a:gd name="connsiteX39" fmla="*/ 147637 w 228600"/>
                <a:gd name="connsiteY39" fmla="*/ 76235 h 309598"/>
                <a:gd name="connsiteX40" fmla="*/ 142875 w 228600"/>
                <a:gd name="connsiteY40" fmla="*/ 69091 h 309598"/>
                <a:gd name="connsiteX41" fmla="*/ 121443 w 228600"/>
                <a:gd name="connsiteY41" fmla="*/ 50041 h 309598"/>
                <a:gd name="connsiteX42" fmla="*/ 116681 w 228600"/>
                <a:gd name="connsiteY42" fmla="*/ 42898 h 309598"/>
                <a:gd name="connsiteX43" fmla="*/ 109537 w 228600"/>
                <a:gd name="connsiteY43" fmla="*/ 40516 h 309598"/>
                <a:gd name="connsiteX44" fmla="*/ 100012 w 228600"/>
                <a:gd name="connsiteY44" fmla="*/ 33373 h 309598"/>
                <a:gd name="connsiteX45" fmla="*/ 71437 w 228600"/>
                <a:gd name="connsiteY45" fmla="*/ 35 h 309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228600" h="309598">
                  <a:moveTo>
                    <a:pt x="71437" y="35"/>
                  </a:moveTo>
                  <a:cubicBezTo>
                    <a:pt x="59134" y="-759"/>
                    <a:pt x="31833" y="11688"/>
                    <a:pt x="26193" y="28610"/>
                  </a:cubicBezTo>
                  <a:cubicBezTo>
                    <a:pt x="17514" y="54650"/>
                    <a:pt x="31353" y="15217"/>
                    <a:pt x="19050" y="42898"/>
                  </a:cubicBezTo>
                  <a:cubicBezTo>
                    <a:pt x="7715" y="68402"/>
                    <a:pt x="20302" y="48161"/>
                    <a:pt x="9525" y="64329"/>
                  </a:cubicBezTo>
                  <a:cubicBezTo>
                    <a:pt x="2065" y="94158"/>
                    <a:pt x="11605" y="57044"/>
                    <a:pt x="4762" y="80998"/>
                  </a:cubicBezTo>
                  <a:cubicBezTo>
                    <a:pt x="-1215" y="101919"/>
                    <a:pt x="5707" y="80546"/>
                    <a:pt x="0" y="97666"/>
                  </a:cubicBezTo>
                  <a:cubicBezTo>
                    <a:pt x="794" y="112747"/>
                    <a:pt x="1265" y="127849"/>
                    <a:pt x="2381" y="142910"/>
                  </a:cubicBezTo>
                  <a:cubicBezTo>
                    <a:pt x="2854" y="149292"/>
                    <a:pt x="4155" y="155589"/>
                    <a:pt x="4762" y="161960"/>
                  </a:cubicBezTo>
                  <a:cubicBezTo>
                    <a:pt x="5743" y="172263"/>
                    <a:pt x="6162" y="182613"/>
                    <a:pt x="7143" y="192916"/>
                  </a:cubicBezTo>
                  <a:cubicBezTo>
                    <a:pt x="7722" y="198997"/>
                    <a:pt x="8331" y="211959"/>
                    <a:pt x="11906" y="219110"/>
                  </a:cubicBezTo>
                  <a:cubicBezTo>
                    <a:pt x="14582" y="224463"/>
                    <a:pt x="19297" y="229636"/>
                    <a:pt x="23812" y="233398"/>
                  </a:cubicBezTo>
                  <a:cubicBezTo>
                    <a:pt x="26011" y="235230"/>
                    <a:pt x="28641" y="236477"/>
                    <a:pt x="30956" y="238160"/>
                  </a:cubicBezTo>
                  <a:cubicBezTo>
                    <a:pt x="37375" y="242829"/>
                    <a:pt x="43401" y="248045"/>
                    <a:pt x="50006" y="252448"/>
                  </a:cubicBezTo>
                  <a:cubicBezTo>
                    <a:pt x="52387" y="254035"/>
                    <a:pt x="54821" y="255547"/>
                    <a:pt x="57150" y="257210"/>
                  </a:cubicBezTo>
                  <a:cubicBezTo>
                    <a:pt x="77843" y="271990"/>
                    <a:pt x="56971" y="257885"/>
                    <a:pt x="73818" y="269116"/>
                  </a:cubicBezTo>
                  <a:cubicBezTo>
                    <a:pt x="75406" y="271497"/>
                    <a:pt x="76749" y="274061"/>
                    <a:pt x="78581" y="276260"/>
                  </a:cubicBezTo>
                  <a:cubicBezTo>
                    <a:pt x="82343" y="280774"/>
                    <a:pt x="87516" y="285490"/>
                    <a:pt x="92868" y="288166"/>
                  </a:cubicBezTo>
                  <a:cubicBezTo>
                    <a:pt x="95113" y="289289"/>
                    <a:pt x="97767" y="289425"/>
                    <a:pt x="100012" y="290548"/>
                  </a:cubicBezTo>
                  <a:cubicBezTo>
                    <a:pt x="118470" y="299777"/>
                    <a:pt x="96350" y="291708"/>
                    <a:pt x="114300" y="297691"/>
                  </a:cubicBezTo>
                  <a:cubicBezTo>
                    <a:pt x="118554" y="300528"/>
                    <a:pt x="126130" y="306006"/>
                    <a:pt x="130968" y="307216"/>
                  </a:cubicBezTo>
                  <a:cubicBezTo>
                    <a:pt x="137176" y="308768"/>
                    <a:pt x="143668" y="308804"/>
                    <a:pt x="150018" y="309598"/>
                  </a:cubicBezTo>
                  <a:cubicBezTo>
                    <a:pt x="163512" y="308804"/>
                    <a:pt x="177050" y="308561"/>
                    <a:pt x="190500" y="307216"/>
                  </a:cubicBezTo>
                  <a:cubicBezTo>
                    <a:pt x="192997" y="306966"/>
                    <a:pt x="195449" y="306054"/>
                    <a:pt x="197643" y="304835"/>
                  </a:cubicBezTo>
                  <a:cubicBezTo>
                    <a:pt x="202647" y="302055"/>
                    <a:pt x="207168" y="298485"/>
                    <a:pt x="211931" y="295310"/>
                  </a:cubicBezTo>
                  <a:lnTo>
                    <a:pt x="219075" y="290548"/>
                  </a:lnTo>
                  <a:lnTo>
                    <a:pt x="226218" y="269116"/>
                  </a:lnTo>
                  <a:lnTo>
                    <a:pt x="228600" y="261973"/>
                  </a:lnTo>
                  <a:cubicBezTo>
                    <a:pt x="227806" y="247685"/>
                    <a:pt x="227993" y="233309"/>
                    <a:pt x="226218" y="219110"/>
                  </a:cubicBezTo>
                  <a:cubicBezTo>
                    <a:pt x="225595" y="214129"/>
                    <a:pt x="223043" y="209585"/>
                    <a:pt x="221456" y="204823"/>
                  </a:cubicBezTo>
                  <a:cubicBezTo>
                    <a:pt x="221454" y="204818"/>
                    <a:pt x="216696" y="190539"/>
                    <a:pt x="216693" y="190535"/>
                  </a:cubicBezTo>
                  <a:cubicBezTo>
                    <a:pt x="215106" y="188154"/>
                    <a:pt x="213211" y="185951"/>
                    <a:pt x="211931" y="183391"/>
                  </a:cubicBezTo>
                  <a:cubicBezTo>
                    <a:pt x="202077" y="163682"/>
                    <a:pt x="218432" y="189570"/>
                    <a:pt x="204787" y="169104"/>
                  </a:cubicBezTo>
                  <a:cubicBezTo>
                    <a:pt x="203993" y="166723"/>
                    <a:pt x="203625" y="164154"/>
                    <a:pt x="202406" y="161960"/>
                  </a:cubicBezTo>
                  <a:cubicBezTo>
                    <a:pt x="202402" y="161952"/>
                    <a:pt x="190502" y="144104"/>
                    <a:pt x="188118" y="140529"/>
                  </a:cubicBezTo>
                  <a:cubicBezTo>
                    <a:pt x="186531" y="138148"/>
                    <a:pt x="184261" y="136100"/>
                    <a:pt x="183356" y="133385"/>
                  </a:cubicBezTo>
                  <a:cubicBezTo>
                    <a:pt x="180070" y="123526"/>
                    <a:pt x="182368" y="128329"/>
                    <a:pt x="176212" y="119098"/>
                  </a:cubicBezTo>
                  <a:cubicBezTo>
                    <a:pt x="174268" y="113266"/>
                    <a:pt x="172748" y="107581"/>
                    <a:pt x="169068" y="102429"/>
                  </a:cubicBezTo>
                  <a:cubicBezTo>
                    <a:pt x="167111" y="99689"/>
                    <a:pt x="164081" y="97872"/>
                    <a:pt x="161925" y="95285"/>
                  </a:cubicBezTo>
                  <a:cubicBezTo>
                    <a:pt x="160093" y="93086"/>
                    <a:pt x="158750" y="90522"/>
                    <a:pt x="157162" y="88141"/>
                  </a:cubicBezTo>
                  <a:cubicBezTo>
                    <a:pt x="152526" y="74234"/>
                    <a:pt x="158408" y="87007"/>
                    <a:pt x="147637" y="76235"/>
                  </a:cubicBezTo>
                  <a:cubicBezTo>
                    <a:pt x="145613" y="74211"/>
                    <a:pt x="144776" y="71230"/>
                    <a:pt x="142875" y="69091"/>
                  </a:cubicBezTo>
                  <a:cubicBezTo>
                    <a:pt x="131014" y="55748"/>
                    <a:pt x="132299" y="57279"/>
                    <a:pt x="121443" y="50041"/>
                  </a:cubicBezTo>
                  <a:cubicBezTo>
                    <a:pt x="119856" y="47660"/>
                    <a:pt x="118916" y="44686"/>
                    <a:pt x="116681" y="42898"/>
                  </a:cubicBezTo>
                  <a:cubicBezTo>
                    <a:pt x="114721" y="41330"/>
                    <a:pt x="111716" y="41761"/>
                    <a:pt x="109537" y="40516"/>
                  </a:cubicBezTo>
                  <a:cubicBezTo>
                    <a:pt x="106091" y="38547"/>
                    <a:pt x="102962" y="36028"/>
                    <a:pt x="100012" y="33373"/>
                  </a:cubicBezTo>
                  <a:cubicBezTo>
                    <a:pt x="93337" y="27365"/>
                    <a:pt x="83740" y="829"/>
                    <a:pt x="71437" y="35"/>
                  </a:cubicBezTo>
                  <a:close/>
                </a:path>
              </a:pathLst>
            </a:custGeom>
            <a:noFill/>
            <a:ln w="12700">
              <a:solidFill>
                <a:srgbClr val="FF0000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144" name="Freeform 143"/>
            <p:cNvSpPr/>
            <p:nvPr/>
          </p:nvSpPr>
          <p:spPr>
            <a:xfrm>
              <a:off x="4260056" y="5589938"/>
              <a:ext cx="185738" cy="241743"/>
            </a:xfrm>
            <a:custGeom>
              <a:avLst/>
              <a:gdLst>
                <a:gd name="connsiteX0" fmla="*/ 76200 w 185738"/>
                <a:gd name="connsiteY0" fmla="*/ 13143 h 241743"/>
                <a:gd name="connsiteX1" fmla="*/ 152400 w 185738"/>
                <a:gd name="connsiteY1" fmla="*/ 115537 h 241743"/>
                <a:gd name="connsiteX2" fmla="*/ 154782 w 185738"/>
                <a:gd name="connsiteY2" fmla="*/ 122681 h 241743"/>
                <a:gd name="connsiteX3" fmla="*/ 164307 w 185738"/>
                <a:gd name="connsiteY3" fmla="*/ 136968 h 241743"/>
                <a:gd name="connsiteX4" fmla="*/ 166688 w 185738"/>
                <a:gd name="connsiteY4" fmla="*/ 144112 h 241743"/>
                <a:gd name="connsiteX5" fmla="*/ 178594 w 185738"/>
                <a:gd name="connsiteY5" fmla="*/ 160781 h 241743"/>
                <a:gd name="connsiteX6" fmla="*/ 180975 w 185738"/>
                <a:gd name="connsiteY6" fmla="*/ 167925 h 241743"/>
                <a:gd name="connsiteX7" fmla="*/ 185738 w 185738"/>
                <a:gd name="connsiteY7" fmla="*/ 191737 h 241743"/>
                <a:gd name="connsiteX8" fmla="*/ 183357 w 185738"/>
                <a:gd name="connsiteY8" fmla="*/ 213168 h 241743"/>
                <a:gd name="connsiteX9" fmla="*/ 178594 w 185738"/>
                <a:gd name="connsiteY9" fmla="*/ 227456 h 241743"/>
                <a:gd name="connsiteX10" fmla="*/ 171450 w 185738"/>
                <a:gd name="connsiteY10" fmla="*/ 241743 h 241743"/>
                <a:gd name="connsiteX11" fmla="*/ 140494 w 185738"/>
                <a:gd name="connsiteY11" fmla="*/ 239362 h 241743"/>
                <a:gd name="connsiteX12" fmla="*/ 128588 w 185738"/>
                <a:gd name="connsiteY12" fmla="*/ 236981 h 241743"/>
                <a:gd name="connsiteX13" fmla="*/ 107157 w 185738"/>
                <a:gd name="connsiteY13" fmla="*/ 222693 h 241743"/>
                <a:gd name="connsiteX14" fmla="*/ 100013 w 185738"/>
                <a:gd name="connsiteY14" fmla="*/ 217931 h 241743"/>
                <a:gd name="connsiteX15" fmla="*/ 92869 w 185738"/>
                <a:gd name="connsiteY15" fmla="*/ 215550 h 241743"/>
                <a:gd name="connsiteX16" fmla="*/ 85725 w 185738"/>
                <a:gd name="connsiteY16" fmla="*/ 210787 h 241743"/>
                <a:gd name="connsiteX17" fmla="*/ 78582 w 185738"/>
                <a:gd name="connsiteY17" fmla="*/ 208406 h 241743"/>
                <a:gd name="connsiteX18" fmla="*/ 54769 w 185738"/>
                <a:gd name="connsiteY18" fmla="*/ 191737 h 241743"/>
                <a:gd name="connsiteX19" fmla="*/ 40482 w 185738"/>
                <a:gd name="connsiteY19" fmla="*/ 177450 h 241743"/>
                <a:gd name="connsiteX20" fmla="*/ 30957 w 185738"/>
                <a:gd name="connsiteY20" fmla="*/ 163162 h 241743"/>
                <a:gd name="connsiteX21" fmla="*/ 23813 w 185738"/>
                <a:gd name="connsiteY21" fmla="*/ 148875 h 241743"/>
                <a:gd name="connsiteX22" fmla="*/ 16669 w 185738"/>
                <a:gd name="connsiteY22" fmla="*/ 134587 h 241743"/>
                <a:gd name="connsiteX23" fmla="*/ 9525 w 185738"/>
                <a:gd name="connsiteY23" fmla="*/ 120300 h 241743"/>
                <a:gd name="connsiteX24" fmla="*/ 4763 w 185738"/>
                <a:gd name="connsiteY24" fmla="*/ 106012 h 241743"/>
                <a:gd name="connsiteX25" fmla="*/ 0 w 185738"/>
                <a:gd name="connsiteY25" fmla="*/ 75056 h 241743"/>
                <a:gd name="connsiteX26" fmla="*/ 4763 w 185738"/>
                <a:gd name="connsiteY26" fmla="*/ 41718 h 241743"/>
                <a:gd name="connsiteX27" fmla="*/ 7144 w 185738"/>
                <a:gd name="connsiteY27" fmla="*/ 34575 h 241743"/>
                <a:gd name="connsiteX28" fmla="*/ 11907 w 185738"/>
                <a:gd name="connsiteY28" fmla="*/ 27431 h 241743"/>
                <a:gd name="connsiteX29" fmla="*/ 21432 w 185738"/>
                <a:gd name="connsiteY29" fmla="*/ 15525 h 241743"/>
                <a:gd name="connsiteX30" fmla="*/ 26194 w 185738"/>
                <a:gd name="connsiteY30" fmla="*/ 8381 h 241743"/>
                <a:gd name="connsiteX31" fmla="*/ 76200 w 185738"/>
                <a:gd name="connsiteY31" fmla="*/ 13143 h 24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85738" h="241743">
                  <a:moveTo>
                    <a:pt x="76200" y="13143"/>
                  </a:moveTo>
                  <a:cubicBezTo>
                    <a:pt x="97234" y="31002"/>
                    <a:pt x="127600" y="80967"/>
                    <a:pt x="152400" y="115537"/>
                  </a:cubicBezTo>
                  <a:cubicBezTo>
                    <a:pt x="153863" y="117577"/>
                    <a:pt x="153563" y="120487"/>
                    <a:pt x="154782" y="122681"/>
                  </a:cubicBezTo>
                  <a:cubicBezTo>
                    <a:pt x="157562" y="127684"/>
                    <a:pt x="164307" y="136968"/>
                    <a:pt x="164307" y="136968"/>
                  </a:cubicBezTo>
                  <a:cubicBezTo>
                    <a:pt x="165101" y="139349"/>
                    <a:pt x="165443" y="141933"/>
                    <a:pt x="166688" y="144112"/>
                  </a:cubicBezTo>
                  <a:cubicBezTo>
                    <a:pt x="171009" y="151674"/>
                    <a:pt x="174904" y="153401"/>
                    <a:pt x="178594" y="160781"/>
                  </a:cubicBezTo>
                  <a:cubicBezTo>
                    <a:pt x="179716" y="163026"/>
                    <a:pt x="180411" y="165479"/>
                    <a:pt x="180975" y="167925"/>
                  </a:cubicBezTo>
                  <a:cubicBezTo>
                    <a:pt x="182795" y="175812"/>
                    <a:pt x="185738" y="191737"/>
                    <a:pt x="185738" y="191737"/>
                  </a:cubicBezTo>
                  <a:cubicBezTo>
                    <a:pt x="184944" y="198881"/>
                    <a:pt x="184767" y="206120"/>
                    <a:pt x="183357" y="213168"/>
                  </a:cubicBezTo>
                  <a:cubicBezTo>
                    <a:pt x="182372" y="218091"/>
                    <a:pt x="180182" y="222693"/>
                    <a:pt x="178594" y="227456"/>
                  </a:cubicBezTo>
                  <a:cubicBezTo>
                    <a:pt x="175307" y="237316"/>
                    <a:pt x="177607" y="232510"/>
                    <a:pt x="171450" y="241743"/>
                  </a:cubicBezTo>
                  <a:cubicBezTo>
                    <a:pt x="161131" y="240949"/>
                    <a:pt x="150780" y="240505"/>
                    <a:pt x="140494" y="239362"/>
                  </a:cubicBezTo>
                  <a:cubicBezTo>
                    <a:pt x="136472" y="238915"/>
                    <a:pt x="132272" y="238656"/>
                    <a:pt x="128588" y="236981"/>
                  </a:cubicBezTo>
                  <a:cubicBezTo>
                    <a:pt x="128571" y="236973"/>
                    <a:pt x="110737" y="225080"/>
                    <a:pt x="107157" y="222693"/>
                  </a:cubicBezTo>
                  <a:cubicBezTo>
                    <a:pt x="104776" y="221105"/>
                    <a:pt x="102728" y="218836"/>
                    <a:pt x="100013" y="217931"/>
                  </a:cubicBezTo>
                  <a:lnTo>
                    <a:pt x="92869" y="215550"/>
                  </a:lnTo>
                  <a:cubicBezTo>
                    <a:pt x="90488" y="213962"/>
                    <a:pt x="88285" y="212067"/>
                    <a:pt x="85725" y="210787"/>
                  </a:cubicBezTo>
                  <a:cubicBezTo>
                    <a:pt x="83480" y="209665"/>
                    <a:pt x="80776" y="209625"/>
                    <a:pt x="78582" y="208406"/>
                  </a:cubicBezTo>
                  <a:cubicBezTo>
                    <a:pt x="75522" y="206706"/>
                    <a:pt x="58798" y="195363"/>
                    <a:pt x="54769" y="191737"/>
                  </a:cubicBezTo>
                  <a:cubicBezTo>
                    <a:pt x="49763" y="187232"/>
                    <a:pt x="44218" y="183054"/>
                    <a:pt x="40482" y="177450"/>
                  </a:cubicBezTo>
                  <a:cubicBezTo>
                    <a:pt x="37307" y="172687"/>
                    <a:pt x="32768" y="168592"/>
                    <a:pt x="30957" y="163162"/>
                  </a:cubicBezTo>
                  <a:cubicBezTo>
                    <a:pt x="27670" y="153303"/>
                    <a:pt x="29967" y="158107"/>
                    <a:pt x="23813" y="148875"/>
                  </a:cubicBezTo>
                  <a:cubicBezTo>
                    <a:pt x="17828" y="130919"/>
                    <a:pt x="25901" y="153052"/>
                    <a:pt x="16669" y="134587"/>
                  </a:cubicBezTo>
                  <a:cubicBezTo>
                    <a:pt x="6813" y="114875"/>
                    <a:pt x="23171" y="140765"/>
                    <a:pt x="9525" y="120300"/>
                  </a:cubicBezTo>
                  <a:cubicBezTo>
                    <a:pt x="7938" y="115537"/>
                    <a:pt x="5317" y="111002"/>
                    <a:pt x="4763" y="106012"/>
                  </a:cubicBezTo>
                  <a:cubicBezTo>
                    <a:pt x="2021" y="81328"/>
                    <a:pt x="4126" y="91554"/>
                    <a:pt x="0" y="75056"/>
                  </a:cubicBezTo>
                  <a:cubicBezTo>
                    <a:pt x="1898" y="56083"/>
                    <a:pt x="780" y="55660"/>
                    <a:pt x="4763" y="41718"/>
                  </a:cubicBezTo>
                  <a:cubicBezTo>
                    <a:pt x="5452" y="39305"/>
                    <a:pt x="6022" y="36820"/>
                    <a:pt x="7144" y="34575"/>
                  </a:cubicBezTo>
                  <a:cubicBezTo>
                    <a:pt x="8424" y="32015"/>
                    <a:pt x="10319" y="29812"/>
                    <a:pt x="11907" y="27431"/>
                  </a:cubicBezTo>
                  <a:cubicBezTo>
                    <a:pt x="16543" y="13522"/>
                    <a:pt x="10660" y="26297"/>
                    <a:pt x="21432" y="15525"/>
                  </a:cubicBezTo>
                  <a:cubicBezTo>
                    <a:pt x="23456" y="13501"/>
                    <a:pt x="24021" y="10244"/>
                    <a:pt x="26194" y="8381"/>
                  </a:cubicBezTo>
                  <a:cubicBezTo>
                    <a:pt x="38781" y="-2408"/>
                    <a:pt x="55166" y="-4716"/>
                    <a:pt x="76200" y="13143"/>
                  </a:cubicBezTo>
                  <a:close/>
                </a:path>
              </a:pathLst>
            </a:custGeom>
            <a:noFill/>
            <a:ln w="12700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145" name="Freeform 144"/>
            <p:cNvSpPr/>
            <p:nvPr/>
          </p:nvSpPr>
          <p:spPr>
            <a:xfrm>
              <a:off x="4424363" y="5543550"/>
              <a:ext cx="204787" cy="369094"/>
            </a:xfrm>
            <a:custGeom>
              <a:avLst/>
              <a:gdLst>
                <a:gd name="connsiteX0" fmla="*/ 2381 w 204787"/>
                <a:gd name="connsiteY0" fmla="*/ 121444 h 369094"/>
                <a:gd name="connsiteX1" fmla="*/ 45243 w 204787"/>
                <a:gd name="connsiteY1" fmla="*/ 23813 h 369094"/>
                <a:gd name="connsiteX2" fmla="*/ 52387 w 204787"/>
                <a:gd name="connsiteY2" fmla="*/ 21431 h 369094"/>
                <a:gd name="connsiteX3" fmla="*/ 59531 w 204787"/>
                <a:gd name="connsiteY3" fmla="*/ 14288 h 369094"/>
                <a:gd name="connsiteX4" fmla="*/ 73818 w 204787"/>
                <a:gd name="connsiteY4" fmla="*/ 4763 h 369094"/>
                <a:gd name="connsiteX5" fmla="*/ 80962 w 204787"/>
                <a:gd name="connsiteY5" fmla="*/ 0 h 369094"/>
                <a:gd name="connsiteX6" fmla="*/ 114300 w 204787"/>
                <a:gd name="connsiteY6" fmla="*/ 2381 h 369094"/>
                <a:gd name="connsiteX7" fmla="*/ 121443 w 204787"/>
                <a:gd name="connsiteY7" fmla="*/ 4763 h 369094"/>
                <a:gd name="connsiteX8" fmla="*/ 135731 w 204787"/>
                <a:gd name="connsiteY8" fmla="*/ 14288 h 369094"/>
                <a:gd name="connsiteX9" fmla="*/ 140493 w 204787"/>
                <a:gd name="connsiteY9" fmla="*/ 21431 h 369094"/>
                <a:gd name="connsiteX10" fmla="*/ 147637 w 204787"/>
                <a:gd name="connsiteY10" fmla="*/ 28575 h 369094"/>
                <a:gd name="connsiteX11" fmla="*/ 152400 w 204787"/>
                <a:gd name="connsiteY11" fmla="*/ 42863 h 369094"/>
                <a:gd name="connsiteX12" fmla="*/ 161925 w 204787"/>
                <a:gd name="connsiteY12" fmla="*/ 57150 h 369094"/>
                <a:gd name="connsiteX13" fmla="*/ 171450 w 204787"/>
                <a:gd name="connsiteY13" fmla="*/ 78581 h 369094"/>
                <a:gd name="connsiteX14" fmla="*/ 178593 w 204787"/>
                <a:gd name="connsiteY14" fmla="*/ 92869 h 369094"/>
                <a:gd name="connsiteX15" fmla="*/ 183356 w 204787"/>
                <a:gd name="connsiteY15" fmla="*/ 107156 h 369094"/>
                <a:gd name="connsiteX16" fmla="*/ 188118 w 204787"/>
                <a:gd name="connsiteY16" fmla="*/ 114300 h 369094"/>
                <a:gd name="connsiteX17" fmla="*/ 195262 w 204787"/>
                <a:gd name="connsiteY17" fmla="*/ 135731 h 369094"/>
                <a:gd name="connsiteX18" fmla="*/ 202406 w 204787"/>
                <a:gd name="connsiteY18" fmla="*/ 157163 h 369094"/>
                <a:gd name="connsiteX19" fmla="*/ 204787 w 204787"/>
                <a:gd name="connsiteY19" fmla="*/ 164306 h 369094"/>
                <a:gd name="connsiteX20" fmla="*/ 202406 w 204787"/>
                <a:gd name="connsiteY20" fmla="*/ 276225 h 369094"/>
                <a:gd name="connsiteX21" fmla="*/ 197643 w 204787"/>
                <a:gd name="connsiteY21" fmla="*/ 304800 h 369094"/>
                <a:gd name="connsiteX22" fmla="*/ 195262 w 204787"/>
                <a:gd name="connsiteY22" fmla="*/ 314325 h 369094"/>
                <a:gd name="connsiteX23" fmla="*/ 190500 w 204787"/>
                <a:gd name="connsiteY23" fmla="*/ 321469 h 369094"/>
                <a:gd name="connsiteX24" fmla="*/ 188118 w 204787"/>
                <a:gd name="connsiteY24" fmla="*/ 328613 h 369094"/>
                <a:gd name="connsiteX25" fmla="*/ 180975 w 204787"/>
                <a:gd name="connsiteY25" fmla="*/ 335756 h 369094"/>
                <a:gd name="connsiteX26" fmla="*/ 176212 w 204787"/>
                <a:gd name="connsiteY26" fmla="*/ 345281 h 369094"/>
                <a:gd name="connsiteX27" fmla="*/ 166687 w 204787"/>
                <a:gd name="connsiteY27" fmla="*/ 359569 h 369094"/>
                <a:gd name="connsiteX28" fmla="*/ 161925 w 204787"/>
                <a:gd name="connsiteY28" fmla="*/ 366713 h 369094"/>
                <a:gd name="connsiteX29" fmla="*/ 154781 w 204787"/>
                <a:gd name="connsiteY29" fmla="*/ 369094 h 369094"/>
                <a:gd name="connsiteX30" fmla="*/ 121443 w 204787"/>
                <a:gd name="connsiteY30" fmla="*/ 366713 h 369094"/>
                <a:gd name="connsiteX31" fmla="*/ 114300 w 204787"/>
                <a:gd name="connsiteY31" fmla="*/ 359569 h 369094"/>
                <a:gd name="connsiteX32" fmla="*/ 92868 w 204787"/>
                <a:gd name="connsiteY32" fmla="*/ 347663 h 369094"/>
                <a:gd name="connsiteX33" fmla="*/ 80962 w 204787"/>
                <a:gd name="connsiteY33" fmla="*/ 333375 h 369094"/>
                <a:gd name="connsiteX34" fmla="*/ 66675 w 204787"/>
                <a:gd name="connsiteY34" fmla="*/ 321469 h 369094"/>
                <a:gd name="connsiteX35" fmla="*/ 50006 w 204787"/>
                <a:gd name="connsiteY35" fmla="*/ 300038 h 369094"/>
                <a:gd name="connsiteX36" fmla="*/ 45243 w 204787"/>
                <a:gd name="connsiteY36" fmla="*/ 290513 h 369094"/>
                <a:gd name="connsiteX37" fmla="*/ 38100 w 204787"/>
                <a:gd name="connsiteY37" fmla="*/ 283369 h 369094"/>
                <a:gd name="connsiteX38" fmla="*/ 35718 w 204787"/>
                <a:gd name="connsiteY38" fmla="*/ 276225 h 369094"/>
                <a:gd name="connsiteX39" fmla="*/ 30956 w 204787"/>
                <a:gd name="connsiteY39" fmla="*/ 259556 h 369094"/>
                <a:gd name="connsiteX40" fmla="*/ 26193 w 204787"/>
                <a:gd name="connsiteY40" fmla="*/ 230981 h 369094"/>
                <a:gd name="connsiteX41" fmla="*/ 21431 w 204787"/>
                <a:gd name="connsiteY41" fmla="*/ 216694 h 369094"/>
                <a:gd name="connsiteX42" fmla="*/ 19050 w 204787"/>
                <a:gd name="connsiteY42" fmla="*/ 209550 h 369094"/>
                <a:gd name="connsiteX43" fmla="*/ 11906 w 204787"/>
                <a:gd name="connsiteY43" fmla="*/ 185738 h 369094"/>
                <a:gd name="connsiteX44" fmla="*/ 4762 w 204787"/>
                <a:gd name="connsiteY44" fmla="*/ 169069 h 369094"/>
                <a:gd name="connsiteX45" fmla="*/ 0 w 204787"/>
                <a:gd name="connsiteY45" fmla="*/ 154781 h 369094"/>
                <a:gd name="connsiteX46" fmla="*/ 2381 w 204787"/>
                <a:gd name="connsiteY46" fmla="*/ 121444 h 369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204787" h="369094">
                  <a:moveTo>
                    <a:pt x="2381" y="121444"/>
                  </a:moveTo>
                  <a:cubicBezTo>
                    <a:pt x="16668" y="88900"/>
                    <a:pt x="29348" y="55603"/>
                    <a:pt x="45243" y="23813"/>
                  </a:cubicBezTo>
                  <a:cubicBezTo>
                    <a:pt x="46366" y="21568"/>
                    <a:pt x="50298" y="22823"/>
                    <a:pt x="52387" y="21431"/>
                  </a:cubicBezTo>
                  <a:cubicBezTo>
                    <a:pt x="55189" y="19563"/>
                    <a:pt x="56873" y="16355"/>
                    <a:pt x="59531" y="14288"/>
                  </a:cubicBezTo>
                  <a:cubicBezTo>
                    <a:pt x="64049" y="10774"/>
                    <a:pt x="69056" y="7938"/>
                    <a:pt x="73818" y="4763"/>
                  </a:cubicBezTo>
                  <a:lnTo>
                    <a:pt x="80962" y="0"/>
                  </a:lnTo>
                  <a:cubicBezTo>
                    <a:pt x="92075" y="794"/>
                    <a:pt x="103235" y="1079"/>
                    <a:pt x="114300" y="2381"/>
                  </a:cubicBezTo>
                  <a:cubicBezTo>
                    <a:pt x="116793" y="2674"/>
                    <a:pt x="119249" y="3544"/>
                    <a:pt x="121443" y="4763"/>
                  </a:cubicBezTo>
                  <a:cubicBezTo>
                    <a:pt x="126447" y="7543"/>
                    <a:pt x="135731" y="14288"/>
                    <a:pt x="135731" y="14288"/>
                  </a:cubicBezTo>
                  <a:cubicBezTo>
                    <a:pt x="137318" y="16669"/>
                    <a:pt x="138661" y="19233"/>
                    <a:pt x="140493" y="21431"/>
                  </a:cubicBezTo>
                  <a:cubicBezTo>
                    <a:pt x="142649" y="24018"/>
                    <a:pt x="146001" y="25631"/>
                    <a:pt x="147637" y="28575"/>
                  </a:cubicBezTo>
                  <a:cubicBezTo>
                    <a:pt x="150075" y="32964"/>
                    <a:pt x="149615" y="38686"/>
                    <a:pt x="152400" y="42863"/>
                  </a:cubicBezTo>
                  <a:lnTo>
                    <a:pt x="161925" y="57150"/>
                  </a:lnTo>
                  <a:cubicBezTo>
                    <a:pt x="167592" y="74153"/>
                    <a:pt x="163902" y="67261"/>
                    <a:pt x="171450" y="78581"/>
                  </a:cubicBezTo>
                  <a:cubicBezTo>
                    <a:pt x="180129" y="104621"/>
                    <a:pt x="166290" y="65188"/>
                    <a:pt x="178593" y="92869"/>
                  </a:cubicBezTo>
                  <a:cubicBezTo>
                    <a:pt x="180632" y="97456"/>
                    <a:pt x="180572" y="102979"/>
                    <a:pt x="183356" y="107156"/>
                  </a:cubicBezTo>
                  <a:cubicBezTo>
                    <a:pt x="184943" y="109537"/>
                    <a:pt x="186956" y="111685"/>
                    <a:pt x="188118" y="114300"/>
                  </a:cubicBezTo>
                  <a:cubicBezTo>
                    <a:pt x="188119" y="114302"/>
                    <a:pt x="194071" y="132158"/>
                    <a:pt x="195262" y="135731"/>
                  </a:cubicBezTo>
                  <a:lnTo>
                    <a:pt x="202406" y="157163"/>
                  </a:lnTo>
                  <a:lnTo>
                    <a:pt x="204787" y="164306"/>
                  </a:lnTo>
                  <a:cubicBezTo>
                    <a:pt x="203993" y="201612"/>
                    <a:pt x="204301" y="238958"/>
                    <a:pt x="202406" y="276225"/>
                  </a:cubicBezTo>
                  <a:cubicBezTo>
                    <a:pt x="201916" y="285869"/>
                    <a:pt x="199985" y="295432"/>
                    <a:pt x="197643" y="304800"/>
                  </a:cubicBezTo>
                  <a:cubicBezTo>
                    <a:pt x="196849" y="307975"/>
                    <a:pt x="196551" y="311317"/>
                    <a:pt x="195262" y="314325"/>
                  </a:cubicBezTo>
                  <a:cubicBezTo>
                    <a:pt x="194135" y="316956"/>
                    <a:pt x="191780" y="318909"/>
                    <a:pt x="190500" y="321469"/>
                  </a:cubicBezTo>
                  <a:cubicBezTo>
                    <a:pt x="189377" y="323714"/>
                    <a:pt x="189510" y="326524"/>
                    <a:pt x="188118" y="328613"/>
                  </a:cubicBezTo>
                  <a:cubicBezTo>
                    <a:pt x="186250" y="331415"/>
                    <a:pt x="182932" y="333016"/>
                    <a:pt x="180975" y="335756"/>
                  </a:cubicBezTo>
                  <a:cubicBezTo>
                    <a:pt x="178912" y="338645"/>
                    <a:pt x="178038" y="342237"/>
                    <a:pt x="176212" y="345281"/>
                  </a:cubicBezTo>
                  <a:cubicBezTo>
                    <a:pt x="173267" y="350189"/>
                    <a:pt x="169862" y="354806"/>
                    <a:pt x="166687" y="359569"/>
                  </a:cubicBezTo>
                  <a:cubicBezTo>
                    <a:pt x="165100" y="361950"/>
                    <a:pt x="164640" y="365808"/>
                    <a:pt x="161925" y="366713"/>
                  </a:cubicBezTo>
                  <a:lnTo>
                    <a:pt x="154781" y="369094"/>
                  </a:lnTo>
                  <a:cubicBezTo>
                    <a:pt x="143668" y="368300"/>
                    <a:pt x="132288" y="369265"/>
                    <a:pt x="121443" y="366713"/>
                  </a:cubicBezTo>
                  <a:cubicBezTo>
                    <a:pt x="118165" y="365942"/>
                    <a:pt x="116958" y="361636"/>
                    <a:pt x="114300" y="359569"/>
                  </a:cubicBezTo>
                  <a:cubicBezTo>
                    <a:pt x="102019" y="350017"/>
                    <a:pt x="103646" y="351255"/>
                    <a:pt x="92868" y="347663"/>
                  </a:cubicBezTo>
                  <a:cubicBezTo>
                    <a:pt x="88186" y="340638"/>
                    <a:pt x="87838" y="339105"/>
                    <a:pt x="80962" y="333375"/>
                  </a:cubicBezTo>
                  <a:cubicBezTo>
                    <a:pt x="72270" y="326132"/>
                    <a:pt x="74366" y="331359"/>
                    <a:pt x="66675" y="321469"/>
                  </a:cubicBezTo>
                  <a:cubicBezTo>
                    <a:pt x="46747" y="295845"/>
                    <a:pt x="66219" y="316249"/>
                    <a:pt x="50006" y="300038"/>
                  </a:cubicBezTo>
                  <a:cubicBezTo>
                    <a:pt x="48418" y="296863"/>
                    <a:pt x="47306" y="293402"/>
                    <a:pt x="45243" y="290513"/>
                  </a:cubicBezTo>
                  <a:cubicBezTo>
                    <a:pt x="43286" y="287773"/>
                    <a:pt x="39968" y="286171"/>
                    <a:pt x="38100" y="283369"/>
                  </a:cubicBezTo>
                  <a:cubicBezTo>
                    <a:pt x="36708" y="281280"/>
                    <a:pt x="36408" y="278639"/>
                    <a:pt x="35718" y="276225"/>
                  </a:cubicBezTo>
                  <a:cubicBezTo>
                    <a:pt x="29730" y="255268"/>
                    <a:pt x="36672" y="276705"/>
                    <a:pt x="30956" y="259556"/>
                  </a:cubicBezTo>
                  <a:cubicBezTo>
                    <a:pt x="29932" y="252390"/>
                    <a:pt x="28284" y="238649"/>
                    <a:pt x="26193" y="230981"/>
                  </a:cubicBezTo>
                  <a:cubicBezTo>
                    <a:pt x="24872" y="226138"/>
                    <a:pt x="23018" y="221456"/>
                    <a:pt x="21431" y="216694"/>
                  </a:cubicBezTo>
                  <a:cubicBezTo>
                    <a:pt x="20637" y="214313"/>
                    <a:pt x="19659" y="211985"/>
                    <a:pt x="19050" y="209550"/>
                  </a:cubicBezTo>
                  <a:cubicBezTo>
                    <a:pt x="15450" y="195154"/>
                    <a:pt x="17703" y="203131"/>
                    <a:pt x="11906" y="185738"/>
                  </a:cubicBezTo>
                  <a:cubicBezTo>
                    <a:pt x="4240" y="162736"/>
                    <a:pt x="16535" y="198502"/>
                    <a:pt x="4762" y="169069"/>
                  </a:cubicBezTo>
                  <a:cubicBezTo>
                    <a:pt x="2898" y="164408"/>
                    <a:pt x="0" y="159801"/>
                    <a:pt x="0" y="154781"/>
                  </a:cubicBezTo>
                  <a:lnTo>
                    <a:pt x="2381" y="121444"/>
                  </a:lnTo>
                  <a:close/>
                </a:path>
              </a:pathLst>
            </a:custGeom>
            <a:noFill/>
            <a:ln w="12700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</p:grpSp>
      <p:grpSp>
        <p:nvGrpSpPr>
          <p:cNvPr id="178" name="Group 177"/>
          <p:cNvGrpSpPr/>
          <p:nvPr/>
        </p:nvGrpSpPr>
        <p:grpSpPr>
          <a:xfrm>
            <a:off x="3991439" y="5669991"/>
            <a:ext cx="745693" cy="493011"/>
            <a:chOff x="3991439" y="6083301"/>
            <a:chExt cx="528119" cy="441324"/>
          </a:xfrm>
        </p:grpSpPr>
        <p:grpSp>
          <p:nvGrpSpPr>
            <p:cNvPr id="161" name="Group 160"/>
            <p:cNvGrpSpPr/>
            <p:nvPr/>
          </p:nvGrpSpPr>
          <p:grpSpPr>
            <a:xfrm>
              <a:off x="4016012" y="6083301"/>
              <a:ext cx="503546" cy="257968"/>
              <a:chOff x="4016012" y="6083301"/>
              <a:chExt cx="503546" cy="257968"/>
            </a:xfrm>
          </p:grpSpPr>
          <p:cxnSp>
            <p:nvCxnSpPr>
              <p:cNvPr id="149" name="Straight Connector 148"/>
              <p:cNvCxnSpPr/>
              <p:nvPr/>
            </p:nvCxnSpPr>
            <p:spPr>
              <a:xfrm>
                <a:off x="4016012" y="6096000"/>
                <a:ext cx="117837" cy="0"/>
              </a:xfrm>
              <a:prstGeom prst="line">
                <a:avLst/>
              </a:prstGeom>
              <a:noFill/>
              <a:ln w="25400" cap="flat">
                <a:solidFill>
                  <a:srgbClr val="FF0000"/>
                </a:solidFill>
                <a:prstDash val="solid"/>
                <a:miter lim="400000"/>
              </a:ln>
              <a:effectLst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cxnSp>
            <p:nvCxnSpPr>
              <p:cNvPr id="150" name="Straight Connector 149"/>
              <p:cNvCxnSpPr/>
              <p:nvPr/>
            </p:nvCxnSpPr>
            <p:spPr>
              <a:xfrm>
                <a:off x="4133640" y="6210300"/>
                <a:ext cx="117837" cy="0"/>
              </a:xfrm>
              <a:prstGeom prst="line">
                <a:avLst/>
              </a:prstGeom>
              <a:noFill/>
              <a:ln w="25400" cap="flat">
                <a:solidFill>
                  <a:srgbClr val="FF0000"/>
                </a:solidFill>
                <a:prstDash val="solid"/>
                <a:miter lim="400000"/>
              </a:ln>
              <a:effectLst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cxnSp>
            <p:nvCxnSpPr>
              <p:cNvPr id="151" name="Straight Connector 150"/>
              <p:cNvCxnSpPr/>
              <p:nvPr/>
            </p:nvCxnSpPr>
            <p:spPr>
              <a:xfrm>
                <a:off x="4234748" y="6326187"/>
                <a:ext cx="284810" cy="0"/>
              </a:xfrm>
              <a:prstGeom prst="line">
                <a:avLst/>
              </a:prstGeom>
              <a:noFill/>
              <a:ln w="25400" cap="flat">
                <a:solidFill>
                  <a:srgbClr val="FF0000"/>
                </a:solidFill>
                <a:prstDash val="solid"/>
                <a:miter lim="400000"/>
              </a:ln>
              <a:effectLst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cxnSp>
            <p:nvCxnSpPr>
              <p:cNvPr id="153" name="Straight Connector 152"/>
              <p:cNvCxnSpPr/>
              <p:nvPr/>
            </p:nvCxnSpPr>
            <p:spPr>
              <a:xfrm flipV="1">
                <a:off x="4124325" y="6083301"/>
                <a:ext cx="501" cy="138905"/>
              </a:xfrm>
              <a:prstGeom prst="line">
                <a:avLst/>
              </a:prstGeom>
              <a:noFill/>
              <a:ln w="25400" cap="flat">
                <a:solidFill>
                  <a:srgbClr val="FF0000"/>
                </a:solidFill>
                <a:prstDash val="solid"/>
                <a:miter lim="400000"/>
              </a:ln>
              <a:effectLst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cxnSp>
            <p:nvCxnSpPr>
              <p:cNvPr id="157" name="Straight Connector 156"/>
              <p:cNvCxnSpPr/>
              <p:nvPr/>
            </p:nvCxnSpPr>
            <p:spPr>
              <a:xfrm flipV="1">
                <a:off x="4238625" y="6199334"/>
                <a:ext cx="501" cy="141935"/>
              </a:xfrm>
              <a:prstGeom prst="line">
                <a:avLst/>
              </a:prstGeom>
              <a:noFill/>
              <a:ln w="25400" cap="flat">
                <a:solidFill>
                  <a:srgbClr val="FF0000"/>
                </a:solidFill>
                <a:prstDash val="solid"/>
                <a:miter lim="400000"/>
              </a:ln>
              <a:effectLst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</p:grpSp>
        <p:cxnSp>
          <p:nvCxnSpPr>
            <p:cNvPr id="163" name="Straight Connector 162"/>
            <p:cNvCxnSpPr/>
            <p:nvPr/>
          </p:nvCxnSpPr>
          <p:spPr>
            <a:xfrm>
              <a:off x="3991439" y="6107630"/>
              <a:ext cx="106326" cy="0"/>
            </a:xfrm>
            <a:prstGeom prst="line">
              <a:avLst/>
            </a:prstGeom>
            <a:noFill/>
            <a:ln w="25400" cap="flat">
              <a:solidFill>
                <a:srgbClr val="0070C0"/>
              </a:solidFill>
              <a:prstDash val="solid"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164" name="Straight Connector 163"/>
            <p:cNvCxnSpPr/>
            <p:nvPr/>
          </p:nvCxnSpPr>
          <p:spPr>
            <a:xfrm>
              <a:off x="4080909" y="6258743"/>
              <a:ext cx="76461" cy="0"/>
            </a:xfrm>
            <a:prstGeom prst="line">
              <a:avLst/>
            </a:prstGeom>
            <a:noFill/>
            <a:ln w="25400" cap="flat">
              <a:solidFill>
                <a:srgbClr val="0070C0"/>
              </a:solidFill>
              <a:prstDash val="solid"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166" name="Straight Connector 165"/>
            <p:cNvCxnSpPr/>
            <p:nvPr/>
          </p:nvCxnSpPr>
          <p:spPr>
            <a:xfrm flipV="1">
              <a:off x="4089171" y="6096397"/>
              <a:ext cx="452" cy="174961"/>
            </a:xfrm>
            <a:prstGeom prst="line">
              <a:avLst/>
            </a:prstGeom>
            <a:noFill/>
            <a:ln w="25400" cap="flat">
              <a:solidFill>
                <a:srgbClr val="0070C0"/>
              </a:solidFill>
              <a:prstDash val="solid"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167" name="Straight Connector 166"/>
            <p:cNvCxnSpPr/>
            <p:nvPr/>
          </p:nvCxnSpPr>
          <p:spPr>
            <a:xfrm flipV="1">
              <a:off x="4145379" y="6252073"/>
              <a:ext cx="452" cy="178778"/>
            </a:xfrm>
            <a:prstGeom prst="line">
              <a:avLst/>
            </a:prstGeom>
            <a:noFill/>
            <a:ln w="25400" cap="flat">
              <a:solidFill>
                <a:srgbClr val="0070C0"/>
              </a:solidFill>
              <a:prstDash val="solid"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170" name="Straight Connector 169"/>
            <p:cNvCxnSpPr/>
            <p:nvPr/>
          </p:nvCxnSpPr>
          <p:spPr>
            <a:xfrm>
              <a:off x="4142998" y="6420667"/>
              <a:ext cx="76461" cy="0"/>
            </a:xfrm>
            <a:prstGeom prst="line">
              <a:avLst/>
            </a:prstGeom>
            <a:noFill/>
            <a:ln w="25400" cap="flat">
              <a:solidFill>
                <a:srgbClr val="0070C0"/>
              </a:solidFill>
              <a:prstDash val="solid"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171" name="Straight Connector 170"/>
            <p:cNvCxnSpPr/>
            <p:nvPr/>
          </p:nvCxnSpPr>
          <p:spPr>
            <a:xfrm flipV="1">
              <a:off x="4207459" y="6408011"/>
              <a:ext cx="0" cy="116614"/>
            </a:xfrm>
            <a:prstGeom prst="line">
              <a:avLst/>
            </a:prstGeom>
            <a:noFill/>
            <a:ln w="25400" cap="flat">
              <a:solidFill>
                <a:srgbClr val="0070C0"/>
              </a:solidFill>
              <a:prstDash val="solid"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174" name="Straight Connector 173"/>
            <p:cNvCxnSpPr/>
            <p:nvPr/>
          </p:nvCxnSpPr>
          <p:spPr>
            <a:xfrm flipH="1">
              <a:off x="4205714" y="6515099"/>
              <a:ext cx="137686" cy="1"/>
            </a:xfrm>
            <a:prstGeom prst="line">
              <a:avLst/>
            </a:prstGeom>
            <a:noFill/>
            <a:ln w="25400" cap="flat">
              <a:solidFill>
                <a:srgbClr val="0070C0"/>
              </a:solidFill>
              <a:prstDash val="solid"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</p:grpSp>
      <p:grpSp>
        <p:nvGrpSpPr>
          <p:cNvPr id="179" name="Group 178"/>
          <p:cNvGrpSpPr/>
          <p:nvPr/>
        </p:nvGrpSpPr>
        <p:grpSpPr>
          <a:xfrm>
            <a:off x="4102927" y="6220214"/>
            <a:ext cx="635349" cy="387774"/>
            <a:chOff x="4156604" y="4328677"/>
            <a:chExt cx="635349" cy="387774"/>
          </a:xfrm>
        </p:grpSpPr>
        <p:sp>
          <p:nvSpPr>
            <p:cNvPr id="180" name="Rectangle 179"/>
            <p:cNvSpPr/>
            <p:nvPr/>
          </p:nvSpPr>
          <p:spPr>
            <a:xfrm>
              <a:off x="4156604" y="4445187"/>
              <a:ext cx="168803" cy="209052"/>
            </a:xfrm>
            <a:prstGeom prst="rect">
              <a:avLst/>
            </a:prstGeom>
            <a:solidFill>
              <a:srgbClr val="1D4BA8"/>
            </a:solidFill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no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1200" b="0" i="0" u="none" strike="noStrike" cap="none" spc="0" normalizeH="0" baseline="0" dirty="0" smtClean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Light"/>
                </a:rPr>
                <a:t>A</a:t>
              </a:r>
              <a:endParaRPr kumimoji="0" lang="en-US" sz="1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181" name="Rectangle 180"/>
            <p:cNvSpPr/>
            <p:nvPr/>
          </p:nvSpPr>
          <p:spPr>
            <a:xfrm>
              <a:off x="4508941" y="4372237"/>
              <a:ext cx="283012" cy="344214"/>
            </a:xfrm>
            <a:prstGeom prst="rect">
              <a:avLst/>
            </a:prstGeom>
            <a:solidFill>
              <a:srgbClr val="1D4BA8"/>
            </a:solidFill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no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2000" b="0" i="0" u="none" strike="noStrike" cap="none" spc="0" normalizeH="0" baseline="0" dirty="0" smtClean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Light"/>
                </a:rPr>
                <a:t>B</a:t>
              </a:r>
              <a:endParaRPr kumimoji="0" lang="en-US" sz="20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cxnSp>
          <p:nvCxnSpPr>
            <p:cNvPr id="182" name="Straight Arrow Connector 181"/>
            <p:cNvCxnSpPr>
              <a:endCxn id="180" idx="0"/>
            </p:cNvCxnSpPr>
            <p:nvPr/>
          </p:nvCxnSpPr>
          <p:spPr>
            <a:xfrm flipH="1">
              <a:off x="4241006" y="4328677"/>
              <a:ext cx="102654" cy="116510"/>
            </a:xfrm>
            <a:prstGeom prst="straightConnector1">
              <a:avLst/>
            </a:prstGeom>
            <a:noFill/>
            <a:ln w="25400" cap="flat">
              <a:solidFill>
                <a:srgbClr val="000000"/>
              </a:solidFill>
              <a:prstDash val="solid"/>
              <a:miter lim="400000"/>
              <a:tailEnd type="triangle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</p:grpSp>
      <p:grpSp>
        <p:nvGrpSpPr>
          <p:cNvPr id="52" name="Group 51"/>
          <p:cNvGrpSpPr/>
          <p:nvPr/>
        </p:nvGrpSpPr>
        <p:grpSpPr>
          <a:xfrm>
            <a:off x="7253890" y="857502"/>
            <a:ext cx="971978" cy="1395277"/>
            <a:chOff x="7273085" y="1361970"/>
            <a:chExt cx="995528" cy="857272"/>
          </a:xfrm>
        </p:grpSpPr>
        <p:sp>
          <p:nvSpPr>
            <p:cNvPr id="51" name="Rectangle 50"/>
            <p:cNvSpPr/>
            <p:nvPr/>
          </p:nvSpPr>
          <p:spPr>
            <a:xfrm rot="784799">
              <a:off x="7273085" y="1361970"/>
              <a:ext cx="466794" cy="677108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r>
                <a:rPr lang="el-GR" dirty="0">
                  <a:solidFill>
                    <a:srgbClr val="0070C0"/>
                  </a:solidFill>
                </a:rPr>
                <a:t>α</a:t>
              </a:r>
              <a:endParaRPr lang="en-US" sz="5400" b="0" cap="none" spc="0" dirty="0">
                <a:ln w="0"/>
                <a:solidFill>
                  <a:srgbClr val="0070C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55" name="Rectangle 154"/>
            <p:cNvSpPr/>
            <p:nvPr/>
          </p:nvSpPr>
          <p:spPr>
            <a:xfrm rot="20319159">
              <a:off x="7350029" y="1814282"/>
              <a:ext cx="312906" cy="400110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r>
                <a:rPr lang="el-GR" sz="2000" dirty="0">
                  <a:solidFill>
                    <a:srgbClr val="002060"/>
                  </a:solidFill>
                </a:rPr>
                <a:t>λ</a:t>
              </a:r>
              <a:endParaRPr lang="en-US" sz="3200" b="0" cap="none" spc="0" dirty="0">
                <a:ln w="0"/>
                <a:solidFill>
                  <a:srgbClr val="00206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56" name="Rectangle 155"/>
            <p:cNvSpPr/>
            <p:nvPr/>
          </p:nvSpPr>
          <p:spPr>
            <a:xfrm rot="784799">
              <a:off x="7874756" y="1437709"/>
              <a:ext cx="373343" cy="536352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r>
                <a:rPr lang="el-GR" sz="2800" dirty="0">
                  <a:solidFill>
                    <a:schemeClr val="accent1">
                      <a:lumMod val="60000"/>
                      <a:lumOff val="40000"/>
                    </a:schemeClr>
                  </a:solidFill>
                </a:rPr>
                <a:t>γ</a:t>
              </a:r>
              <a:endParaRPr lang="en-US" sz="4000" b="0" cap="none" spc="0" dirty="0">
                <a:ln w="0"/>
                <a:solidFill>
                  <a:schemeClr val="accent1">
                    <a:lumMod val="60000"/>
                    <a:lumOff val="4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58" name="Rectangle 157"/>
            <p:cNvSpPr/>
            <p:nvPr/>
          </p:nvSpPr>
          <p:spPr>
            <a:xfrm rot="20838024">
              <a:off x="7607423" y="1588113"/>
              <a:ext cx="496587" cy="283952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r>
                <a:rPr lang="en-US" sz="1200" dirty="0" err="1" smtClean="0">
                  <a:solidFill>
                    <a:srgbClr val="0070C0"/>
                  </a:solidFill>
                </a:rPr>
                <a:t>mtry</a:t>
              </a:r>
              <a:endParaRPr lang="en-US" sz="1800" b="0" cap="none" spc="0" dirty="0">
                <a:ln w="0"/>
                <a:solidFill>
                  <a:srgbClr val="0070C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59" name="Rectangle 158"/>
            <p:cNvSpPr/>
            <p:nvPr/>
          </p:nvSpPr>
          <p:spPr>
            <a:xfrm rot="917317">
              <a:off x="7530932" y="1885237"/>
              <a:ext cx="721711" cy="283952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r>
                <a:rPr lang="en-US" sz="1200" dirty="0" smtClean="0">
                  <a:solidFill>
                    <a:schemeClr val="accent1">
                      <a:lumMod val="40000"/>
                      <a:lumOff val="60000"/>
                    </a:schemeClr>
                  </a:solidFill>
                </a:rPr>
                <a:t>dropout</a:t>
              </a:r>
              <a:endParaRPr lang="en-US" sz="1800" b="0" cap="none" spc="0" dirty="0">
                <a:ln w="0"/>
                <a:solidFill>
                  <a:schemeClr val="accent1">
                    <a:lumMod val="40000"/>
                    <a:lumOff val="6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60" name="Rectangle 159"/>
            <p:cNvSpPr/>
            <p:nvPr/>
          </p:nvSpPr>
          <p:spPr>
            <a:xfrm rot="20858769">
              <a:off x="7527904" y="1897770"/>
              <a:ext cx="405080" cy="321472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r>
                <a:rPr lang="el-GR" sz="2800" dirty="0"/>
                <a:t>η</a:t>
              </a:r>
              <a:endParaRPr lang="en-US" sz="2800" b="0" cap="none" spc="0" dirty="0">
                <a:ln w="0"/>
                <a:solidFill>
                  <a:schemeClr val="accent1">
                    <a:lumMod val="60000"/>
                    <a:lumOff val="4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162" name="Rectangle 161"/>
            <p:cNvSpPr/>
            <p:nvPr/>
          </p:nvSpPr>
          <p:spPr>
            <a:xfrm rot="21330648">
              <a:off x="7342648" y="1732115"/>
              <a:ext cx="925965" cy="170191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r>
                <a:rPr lang="en-US" sz="1200" dirty="0" err="1" smtClean="0">
                  <a:solidFill>
                    <a:schemeClr val="bg1">
                      <a:lumMod val="50000"/>
                    </a:schemeClr>
                  </a:solidFill>
                </a:rPr>
                <a:t>nrounds</a:t>
              </a:r>
              <a:endParaRPr lang="en-US" sz="1800" b="0" cap="none" spc="0" dirty="0">
                <a:ln w="0"/>
                <a:solidFill>
                  <a:schemeClr val="bg1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</p:grpSp>
      <p:grpSp>
        <p:nvGrpSpPr>
          <p:cNvPr id="115" name="Group 114"/>
          <p:cNvGrpSpPr/>
          <p:nvPr/>
        </p:nvGrpSpPr>
        <p:grpSpPr>
          <a:xfrm>
            <a:off x="7312353" y="2718510"/>
            <a:ext cx="836285" cy="521848"/>
            <a:chOff x="7312353" y="4064440"/>
            <a:chExt cx="836285" cy="521848"/>
          </a:xfrm>
        </p:grpSpPr>
        <p:sp>
          <p:nvSpPr>
            <p:cNvPr id="70" name="Oval 69"/>
            <p:cNvSpPr/>
            <p:nvPr/>
          </p:nvSpPr>
          <p:spPr>
            <a:xfrm>
              <a:off x="7367121" y="4335902"/>
              <a:ext cx="45719" cy="45719"/>
            </a:xfrm>
            <a:prstGeom prst="ellipse">
              <a:avLst/>
            </a:prstGeom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249" name="Oval 248"/>
            <p:cNvSpPr/>
            <p:nvPr/>
          </p:nvSpPr>
          <p:spPr>
            <a:xfrm>
              <a:off x="7462371" y="4200171"/>
              <a:ext cx="45719" cy="45719"/>
            </a:xfrm>
            <a:prstGeom prst="ellipse">
              <a:avLst/>
            </a:prstGeom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250" name="Oval 249"/>
            <p:cNvSpPr/>
            <p:nvPr/>
          </p:nvSpPr>
          <p:spPr>
            <a:xfrm>
              <a:off x="7569528" y="4262084"/>
              <a:ext cx="45719" cy="45719"/>
            </a:xfrm>
            <a:prstGeom prst="ellipse">
              <a:avLst/>
            </a:prstGeom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251" name="Oval 250"/>
            <p:cNvSpPr/>
            <p:nvPr/>
          </p:nvSpPr>
          <p:spPr>
            <a:xfrm>
              <a:off x="7631440" y="4173977"/>
              <a:ext cx="45719" cy="45719"/>
            </a:xfrm>
            <a:prstGeom prst="ellipse">
              <a:avLst/>
            </a:prstGeom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252" name="Oval 251"/>
            <p:cNvSpPr/>
            <p:nvPr/>
          </p:nvSpPr>
          <p:spPr>
            <a:xfrm>
              <a:off x="7660015" y="4064440"/>
              <a:ext cx="45719" cy="45719"/>
            </a:xfrm>
            <a:prstGeom prst="ellipse">
              <a:avLst/>
            </a:prstGeom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253" name="Oval 252"/>
            <p:cNvSpPr/>
            <p:nvPr/>
          </p:nvSpPr>
          <p:spPr>
            <a:xfrm>
              <a:off x="7538571" y="4121590"/>
              <a:ext cx="45719" cy="45719"/>
            </a:xfrm>
            <a:prstGeom prst="ellipse">
              <a:avLst/>
            </a:prstGeom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254" name="Oval 253"/>
            <p:cNvSpPr/>
            <p:nvPr/>
          </p:nvSpPr>
          <p:spPr>
            <a:xfrm>
              <a:off x="7917888" y="4200171"/>
              <a:ext cx="45719" cy="45719"/>
            </a:xfrm>
            <a:prstGeom prst="ellipse">
              <a:avLst/>
            </a:prstGeom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255" name="Oval 254"/>
            <p:cNvSpPr/>
            <p:nvPr/>
          </p:nvSpPr>
          <p:spPr>
            <a:xfrm>
              <a:off x="7795746" y="4226365"/>
              <a:ext cx="45719" cy="45719"/>
            </a:xfrm>
            <a:prstGeom prst="ellipse">
              <a:avLst/>
            </a:prstGeom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256" name="Oval 255"/>
            <p:cNvSpPr/>
            <p:nvPr/>
          </p:nvSpPr>
          <p:spPr>
            <a:xfrm>
              <a:off x="7421890" y="4412103"/>
              <a:ext cx="45719" cy="45719"/>
            </a:xfrm>
            <a:prstGeom prst="ellipse">
              <a:avLst/>
            </a:prstGeom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257" name="Oval 256"/>
            <p:cNvSpPr/>
            <p:nvPr/>
          </p:nvSpPr>
          <p:spPr>
            <a:xfrm>
              <a:off x="7576672" y="4397815"/>
              <a:ext cx="45719" cy="45719"/>
            </a:xfrm>
            <a:prstGeom prst="ellipse">
              <a:avLst/>
            </a:prstGeom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258" name="Oval 257"/>
            <p:cNvSpPr/>
            <p:nvPr/>
          </p:nvSpPr>
          <p:spPr>
            <a:xfrm>
              <a:off x="7562384" y="4352571"/>
              <a:ext cx="45719" cy="45719"/>
            </a:xfrm>
            <a:prstGeom prst="ellipse">
              <a:avLst/>
            </a:prstGeom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259" name="Oval 258"/>
            <p:cNvSpPr/>
            <p:nvPr/>
          </p:nvSpPr>
          <p:spPr>
            <a:xfrm>
              <a:off x="7426653" y="4300183"/>
              <a:ext cx="45719" cy="45719"/>
            </a:xfrm>
            <a:prstGeom prst="ellipse">
              <a:avLst/>
            </a:prstGeom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260" name="Oval 259"/>
            <p:cNvSpPr/>
            <p:nvPr/>
          </p:nvSpPr>
          <p:spPr>
            <a:xfrm>
              <a:off x="7498090" y="4231127"/>
              <a:ext cx="45719" cy="45719"/>
            </a:xfrm>
            <a:prstGeom prst="ellipse">
              <a:avLst/>
            </a:prstGeom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261" name="Oval 260"/>
            <p:cNvSpPr/>
            <p:nvPr/>
          </p:nvSpPr>
          <p:spPr>
            <a:xfrm>
              <a:off x="7490947" y="4400196"/>
              <a:ext cx="45719" cy="45719"/>
            </a:xfrm>
            <a:prstGeom prst="ellipse">
              <a:avLst/>
            </a:prstGeom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262" name="Oval 261"/>
            <p:cNvSpPr/>
            <p:nvPr/>
          </p:nvSpPr>
          <p:spPr>
            <a:xfrm>
              <a:off x="7312353" y="4474015"/>
              <a:ext cx="45719" cy="45719"/>
            </a:xfrm>
            <a:prstGeom prst="ellipse">
              <a:avLst/>
            </a:prstGeom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263" name="Oval 262"/>
            <p:cNvSpPr/>
            <p:nvPr/>
          </p:nvSpPr>
          <p:spPr>
            <a:xfrm>
              <a:off x="7431415" y="4514496"/>
              <a:ext cx="45719" cy="45719"/>
            </a:xfrm>
            <a:prstGeom prst="ellipse">
              <a:avLst/>
            </a:prstGeom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264" name="Oval 263"/>
            <p:cNvSpPr/>
            <p:nvPr/>
          </p:nvSpPr>
          <p:spPr>
            <a:xfrm>
              <a:off x="7498090" y="4362096"/>
              <a:ext cx="45719" cy="45719"/>
            </a:xfrm>
            <a:prstGeom prst="ellipse">
              <a:avLst/>
            </a:prstGeom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265" name="Oval 264"/>
            <p:cNvSpPr/>
            <p:nvPr/>
          </p:nvSpPr>
          <p:spPr>
            <a:xfrm>
              <a:off x="7955290" y="4064440"/>
              <a:ext cx="45719" cy="45719"/>
            </a:xfrm>
            <a:prstGeom prst="ellipse">
              <a:avLst/>
            </a:prstGeom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266" name="Oval 265"/>
            <p:cNvSpPr/>
            <p:nvPr/>
          </p:nvSpPr>
          <p:spPr>
            <a:xfrm>
              <a:off x="7840990" y="4064440"/>
              <a:ext cx="45719" cy="45719"/>
            </a:xfrm>
            <a:prstGeom prst="ellipse">
              <a:avLst/>
            </a:prstGeom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267" name="Oval 266"/>
            <p:cNvSpPr/>
            <p:nvPr/>
          </p:nvSpPr>
          <p:spPr>
            <a:xfrm>
              <a:off x="7690971" y="4228747"/>
              <a:ext cx="45719" cy="45719"/>
            </a:xfrm>
            <a:prstGeom prst="ellipse">
              <a:avLst/>
            </a:prstGeom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268" name="Oval 267"/>
            <p:cNvSpPr/>
            <p:nvPr/>
          </p:nvSpPr>
          <p:spPr>
            <a:xfrm>
              <a:off x="8086258" y="4121590"/>
              <a:ext cx="45719" cy="45719"/>
            </a:xfrm>
            <a:prstGeom prst="ellipse">
              <a:avLst/>
            </a:prstGeom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269" name="Oval 268"/>
            <p:cNvSpPr/>
            <p:nvPr/>
          </p:nvSpPr>
          <p:spPr>
            <a:xfrm>
              <a:off x="7852895" y="4138259"/>
              <a:ext cx="45719" cy="45719"/>
            </a:xfrm>
            <a:prstGeom prst="ellipse">
              <a:avLst/>
            </a:prstGeom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270" name="Oval 269"/>
            <p:cNvSpPr/>
            <p:nvPr/>
          </p:nvSpPr>
          <p:spPr>
            <a:xfrm>
              <a:off x="7640964" y="4326377"/>
              <a:ext cx="45719" cy="45719"/>
            </a:xfrm>
            <a:prstGeom prst="ellipse">
              <a:avLst/>
            </a:prstGeom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96" name="Freeform 95"/>
            <p:cNvSpPr/>
            <p:nvPr/>
          </p:nvSpPr>
          <p:spPr>
            <a:xfrm>
              <a:off x="7343775" y="4100513"/>
              <a:ext cx="804863" cy="485775"/>
            </a:xfrm>
            <a:custGeom>
              <a:avLst/>
              <a:gdLst>
                <a:gd name="connsiteX0" fmla="*/ 0 w 804863"/>
                <a:gd name="connsiteY0" fmla="*/ 485775 h 485775"/>
                <a:gd name="connsiteX1" fmla="*/ 235744 w 804863"/>
                <a:gd name="connsiteY1" fmla="*/ 140493 h 485775"/>
                <a:gd name="connsiteX2" fmla="*/ 804863 w 804863"/>
                <a:gd name="connsiteY2" fmla="*/ 0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04863" h="485775">
                  <a:moveTo>
                    <a:pt x="0" y="485775"/>
                  </a:moveTo>
                  <a:cubicBezTo>
                    <a:pt x="50800" y="353615"/>
                    <a:pt x="101600" y="221455"/>
                    <a:pt x="235744" y="140493"/>
                  </a:cubicBezTo>
                  <a:cubicBezTo>
                    <a:pt x="369888" y="59530"/>
                    <a:pt x="713979" y="27781"/>
                    <a:pt x="804863" y="0"/>
                  </a:cubicBezTo>
                </a:path>
              </a:pathLst>
            </a:custGeom>
            <a:ln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ot="0" spcFirstLastPara="1" vertOverflow="overflow" horzOverflow="overflow" vert="horz" wrap="square" lIns="91439" tIns="45719" rIns="91439" bIns="45719" numCol="1" spcCol="38100" rtlCol="0" anchor="t">
              <a:noAutofit/>
            </a:bodyPr>
            <a:lstStyle/>
            <a:p>
              <a:pPr marL="0" marR="0" indent="0" algn="l" defTabSz="9144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endParaRPr>
            </a:p>
          </p:txBody>
        </p:sp>
      </p:grpSp>
      <p:grpSp>
        <p:nvGrpSpPr>
          <p:cNvPr id="278" name="Group 277"/>
          <p:cNvGrpSpPr/>
          <p:nvPr/>
        </p:nvGrpSpPr>
        <p:grpSpPr>
          <a:xfrm>
            <a:off x="4045822" y="3884224"/>
            <a:ext cx="578244" cy="325562"/>
            <a:chOff x="4156604" y="4328677"/>
            <a:chExt cx="578244" cy="325562"/>
          </a:xfrm>
        </p:grpSpPr>
        <p:sp>
          <p:nvSpPr>
            <p:cNvPr id="279" name="Rectangle 278"/>
            <p:cNvSpPr/>
            <p:nvPr/>
          </p:nvSpPr>
          <p:spPr>
            <a:xfrm>
              <a:off x="4156604" y="4445187"/>
              <a:ext cx="168803" cy="209052"/>
            </a:xfrm>
            <a:prstGeom prst="rect">
              <a:avLst/>
            </a:prstGeom>
            <a:solidFill>
              <a:srgbClr val="1D4BA8"/>
            </a:solidFill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no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1200" b="0" i="0" u="none" strike="noStrike" cap="none" spc="0" normalizeH="0" baseline="0" dirty="0" smtClean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Light"/>
                </a:rPr>
                <a:t>A</a:t>
              </a:r>
              <a:endParaRPr kumimoji="0" lang="en-US" sz="1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280" name="Rectangle 279"/>
            <p:cNvSpPr/>
            <p:nvPr/>
          </p:nvSpPr>
          <p:spPr>
            <a:xfrm>
              <a:off x="4566045" y="4439818"/>
              <a:ext cx="168803" cy="209052"/>
            </a:xfrm>
            <a:prstGeom prst="rect">
              <a:avLst/>
            </a:prstGeom>
            <a:solidFill>
              <a:srgbClr val="1D4BA8"/>
            </a:solidFill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no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1200" b="0" i="0" u="none" strike="noStrike" cap="none" spc="0" normalizeH="0" baseline="0" dirty="0" smtClean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Light"/>
                </a:rPr>
                <a:t>C</a:t>
              </a:r>
              <a:endParaRPr kumimoji="0" lang="en-US" sz="1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cxnSp>
          <p:nvCxnSpPr>
            <p:cNvPr id="281" name="Straight Arrow Connector 280"/>
            <p:cNvCxnSpPr>
              <a:endCxn id="279" idx="0"/>
            </p:cNvCxnSpPr>
            <p:nvPr/>
          </p:nvCxnSpPr>
          <p:spPr>
            <a:xfrm flipH="1">
              <a:off x="4241006" y="4328677"/>
              <a:ext cx="102654" cy="116510"/>
            </a:xfrm>
            <a:prstGeom prst="straightConnector1">
              <a:avLst/>
            </a:prstGeom>
            <a:noFill/>
            <a:ln w="25400" cap="flat">
              <a:solidFill>
                <a:srgbClr val="000000"/>
              </a:solidFill>
              <a:prstDash val="solid"/>
              <a:miter lim="400000"/>
              <a:tailEnd type="triangle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sp>
          <p:nvSpPr>
            <p:cNvPr id="282" name="Rectangle 281"/>
            <p:cNvSpPr/>
            <p:nvPr/>
          </p:nvSpPr>
          <p:spPr>
            <a:xfrm>
              <a:off x="4361325" y="4445187"/>
              <a:ext cx="168803" cy="209052"/>
            </a:xfrm>
            <a:prstGeom prst="rect">
              <a:avLst/>
            </a:prstGeom>
            <a:solidFill>
              <a:srgbClr val="1D4BA8"/>
            </a:solidFill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no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1200" b="0" i="0" u="none" strike="noStrike" cap="none" spc="0" normalizeH="0" baseline="0" dirty="0" smtClean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Light"/>
                </a:rPr>
                <a:t>B</a:t>
              </a:r>
              <a:endParaRPr kumimoji="0" lang="en-US" sz="1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</p:grpSp>
      <p:grpSp>
        <p:nvGrpSpPr>
          <p:cNvPr id="335" name="Group 334"/>
          <p:cNvGrpSpPr/>
          <p:nvPr/>
        </p:nvGrpSpPr>
        <p:grpSpPr>
          <a:xfrm>
            <a:off x="7343775" y="3547616"/>
            <a:ext cx="813876" cy="470697"/>
            <a:chOff x="7343775" y="5946969"/>
            <a:chExt cx="813876" cy="535396"/>
          </a:xfrm>
        </p:grpSpPr>
        <p:sp>
          <p:nvSpPr>
            <p:cNvPr id="308" name="Freeform 307"/>
            <p:cNvSpPr/>
            <p:nvPr/>
          </p:nvSpPr>
          <p:spPr>
            <a:xfrm>
              <a:off x="7343775" y="5970544"/>
              <a:ext cx="804863" cy="485775"/>
            </a:xfrm>
            <a:custGeom>
              <a:avLst/>
              <a:gdLst>
                <a:gd name="connsiteX0" fmla="*/ 0 w 804863"/>
                <a:gd name="connsiteY0" fmla="*/ 485775 h 485775"/>
                <a:gd name="connsiteX1" fmla="*/ 235744 w 804863"/>
                <a:gd name="connsiteY1" fmla="*/ 140493 h 485775"/>
                <a:gd name="connsiteX2" fmla="*/ 804863 w 804863"/>
                <a:gd name="connsiteY2" fmla="*/ 0 h 485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04863" h="485775">
                  <a:moveTo>
                    <a:pt x="0" y="485775"/>
                  </a:moveTo>
                  <a:cubicBezTo>
                    <a:pt x="50800" y="353615"/>
                    <a:pt x="101600" y="221455"/>
                    <a:pt x="235744" y="140493"/>
                  </a:cubicBezTo>
                  <a:cubicBezTo>
                    <a:pt x="369888" y="59530"/>
                    <a:pt x="713979" y="27781"/>
                    <a:pt x="804863" y="0"/>
                  </a:cubicBezTo>
                </a:path>
              </a:pathLst>
            </a:custGeom>
            <a:ln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ot="0" spcFirstLastPara="1" vertOverflow="overflow" horzOverflow="overflow" vert="horz" wrap="square" lIns="91439" tIns="45719" rIns="91439" bIns="45719" numCol="1" spcCol="38100" rtlCol="0" anchor="t">
              <a:noAutofit/>
            </a:bodyPr>
            <a:lstStyle/>
            <a:p>
              <a:pPr marL="0" marR="0" indent="0" algn="l" defTabSz="9144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endParaRPr>
            </a:p>
          </p:txBody>
        </p:sp>
        <p:sp>
          <p:nvSpPr>
            <p:cNvPr id="117" name="Isosceles Triangle 116"/>
            <p:cNvSpPr/>
            <p:nvPr/>
          </p:nvSpPr>
          <p:spPr>
            <a:xfrm>
              <a:off x="7462371" y="6436646"/>
              <a:ext cx="53034" cy="45719"/>
            </a:xfrm>
            <a:prstGeom prst="triangl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309" name="Isosceles Triangle 308"/>
            <p:cNvSpPr/>
            <p:nvPr/>
          </p:nvSpPr>
          <p:spPr>
            <a:xfrm>
              <a:off x="7534913" y="6436646"/>
              <a:ext cx="53034" cy="45719"/>
            </a:xfrm>
            <a:prstGeom prst="triangl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310" name="Isosceles Triangle 309"/>
            <p:cNvSpPr/>
            <p:nvPr/>
          </p:nvSpPr>
          <p:spPr>
            <a:xfrm>
              <a:off x="7739817" y="6436646"/>
              <a:ext cx="53034" cy="45719"/>
            </a:xfrm>
            <a:prstGeom prst="triangl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311" name="Isosceles Triangle 310"/>
            <p:cNvSpPr/>
            <p:nvPr/>
          </p:nvSpPr>
          <p:spPr>
            <a:xfrm>
              <a:off x="7821106" y="6436646"/>
              <a:ext cx="53034" cy="45719"/>
            </a:xfrm>
            <a:prstGeom prst="triangl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312" name="Isosceles Triangle 311"/>
            <p:cNvSpPr/>
            <p:nvPr/>
          </p:nvSpPr>
          <p:spPr>
            <a:xfrm>
              <a:off x="7950435" y="6436646"/>
              <a:ext cx="53034" cy="45719"/>
            </a:xfrm>
            <a:prstGeom prst="triangl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313" name="Isosceles Triangle 312"/>
            <p:cNvSpPr/>
            <p:nvPr/>
          </p:nvSpPr>
          <p:spPr>
            <a:xfrm>
              <a:off x="8104617" y="6436646"/>
              <a:ext cx="53034" cy="45719"/>
            </a:xfrm>
            <a:prstGeom prst="triangl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314" name="Isosceles Triangle 313"/>
            <p:cNvSpPr/>
            <p:nvPr/>
          </p:nvSpPr>
          <p:spPr>
            <a:xfrm>
              <a:off x="8036546" y="6436646"/>
              <a:ext cx="53034" cy="45719"/>
            </a:xfrm>
            <a:prstGeom prst="triangl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cxnSp>
          <p:nvCxnSpPr>
            <p:cNvPr id="148" name="Straight Connector 147"/>
            <p:cNvCxnSpPr>
              <a:stCxn id="117" idx="0"/>
            </p:cNvCxnSpPr>
            <p:nvPr/>
          </p:nvCxnSpPr>
          <p:spPr>
            <a:xfrm flipH="1" flipV="1">
              <a:off x="7485230" y="6188869"/>
              <a:ext cx="3658" cy="247777"/>
            </a:xfrm>
            <a:prstGeom prst="line">
              <a:avLst/>
            </a:prstGeom>
            <a:noFill/>
            <a:ln w="12700" cap="flat">
              <a:solidFill>
                <a:schemeClr val="bg1">
                  <a:lumMod val="50000"/>
                </a:schemeClr>
              </a:solidFill>
              <a:prstDash val="solid"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315" name="Straight Connector 314"/>
            <p:cNvCxnSpPr/>
            <p:nvPr/>
          </p:nvCxnSpPr>
          <p:spPr>
            <a:xfrm flipV="1">
              <a:off x="7561430" y="6126956"/>
              <a:ext cx="0" cy="309691"/>
            </a:xfrm>
            <a:prstGeom prst="line">
              <a:avLst/>
            </a:prstGeom>
            <a:noFill/>
            <a:ln w="12700" cap="flat">
              <a:solidFill>
                <a:schemeClr val="bg1">
                  <a:lumMod val="50000"/>
                </a:schemeClr>
              </a:solidFill>
              <a:prstDash val="solid"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316" name="Straight Connector 315"/>
            <p:cNvCxnSpPr/>
            <p:nvPr/>
          </p:nvCxnSpPr>
          <p:spPr>
            <a:xfrm flipV="1">
              <a:off x="7764914" y="6051725"/>
              <a:ext cx="0" cy="384923"/>
            </a:xfrm>
            <a:prstGeom prst="line">
              <a:avLst/>
            </a:prstGeom>
            <a:noFill/>
            <a:ln w="12700" cap="flat">
              <a:solidFill>
                <a:schemeClr val="bg1">
                  <a:lumMod val="50000"/>
                </a:schemeClr>
              </a:solidFill>
              <a:prstDash val="solid"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317" name="Straight Connector 316"/>
            <p:cNvCxnSpPr/>
            <p:nvPr/>
          </p:nvCxnSpPr>
          <p:spPr>
            <a:xfrm flipV="1">
              <a:off x="7847623" y="6034088"/>
              <a:ext cx="0" cy="402561"/>
            </a:xfrm>
            <a:prstGeom prst="line">
              <a:avLst/>
            </a:prstGeom>
            <a:noFill/>
            <a:ln w="12700" cap="flat">
              <a:solidFill>
                <a:schemeClr val="bg1">
                  <a:lumMod val="50000"/>
                </a:schemeClr>
              </a:solidFill>
              <a:prstDash val="solid"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318" name="Straight Connector 317"/>
            <p:cNvCxnSpPr/>
            <p:nvPr/>
          </p:nvCxnSpPr>
          <p:spPr>
            <a:xfrm flipV="1">
              <a:off x="7976952" y="6005513"/>
              <a:ext cx="0" cy="431136"/>
            </a:xfrm>
            <a:prstGeom prst="line">
              <a:avLst/>
            </a:prstGeom>
            <a:noFill/>
            <a:ln w="12700" cap="flat">
              <a:solidFill>
                <a:schemeClr val="bg1">
                  <a:lumMod val="50000"/>
                </a:schemeClr>
              </a:solidFill>
              <a:prstDash val="solid"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319" name="Straight Connector 318"/>
            <p:cNvCxnSpPr/>
            <p:nvPr/>
          </p:nvCxnSpPr>
          <p:spPr>
            <a:xfrm flipV="1">
              <a:off x="8063063" y="5986463"/>
              <a:ext cx="0" cy="450186"/>
            </a:xfrm>
            <a:prstGeom prst="line">
              <a:avLst/>
            </a:prstGeom>
            <a:noFill/>
            <a:ln w="12700" cap="flat">
              <a:solidFill>
                <a:schemeClr val="bg1">
                  <a:lumMod val="50000"/>
                </a:schemeClr>
              </a:solidFill>
              <a:prstDash val="solid"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320" name="Straight Connector 319"/>
            <p:cNvCxnSpPr/>
            <p:nvPr/>
          </p:nvCxnSpPr>
          <p:spPr>
            <a:xfrm flipV="1">
              <a:off x="8131134" y="5976938"/>
              <a:ext cx="0" cy="459711"/>
            </a:xfrm>
            <a:prstGeom prst="line">
              <a:avLst/>
            </a:prstGeom>
            <a:noFill/>
            <a:ln w="12700" cap="flat">
              <a:solidFill>
                <a:schemeClr val="bg1">
                  <a:lumMod val="50000"/>
                </a:schemeClr>
              </a:solidFill>
              <a:prstDash val="solid"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sp>
          <p:nvSpPr>
            <p:cNvPr id="326" name="Oval 325"/>
            <p:cNvSpPr/>
            <p:nvPr/>
          </p:nvSpPr>
          <p:spPr>
            <a:xfrm>
              <a:off x="7744209" y="6015531"/>
              <a:ext cx="45719" cy="45719"/>
            </a:xfrm>
            <a:prstGeom prst="ellipse">
              <a:avLst/>
            </a:prstGeom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327" name="Oval 326"/>
            <p:cNvSpPr/>
            <p:nvPr/>
          </p:nvSpPr>
          <p:spPr>
            <a:xfrm>
              <a:off x="7830234" y="6007622"/>
              <a:ext cx="45719" cy="45719"/>
            </a:xfrm>
            <a:prstGeom prst="ellipse">
              <a:avLst/>
            </a:prstGeom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328" name="Oval 327"/>
            <p:cNvSpPr/>
            <p:nvPr/>
          </p:nvSpPr>
          <p:spPr>
            <a:xfrm>
              <a:off x="7540427" y="6107284"/>
              <a:ext cx="45719" cy="45719"/>
            </a:xfrm>
            <a:prstGeom prst="ellipse">
              <a:avLst/>
            </a:prstGeom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329" name="Oval 328"/>
            <p:cNvSpPr/>
            <p:nvPr/>
          </p:nvSpPr>
          <p:spPr>
            <a:xfrm>
              <a:off x="7465300" y="6167343"/>
              <a:ext cx="45719" cy="45719"/>
            </a:xfrm>
            <a:prstGeom prst="ellipse">
              <a:avLst/>
            </a:prstGeom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332" name="Oval 331"/>
            <p:cNvSpPr/>
            <p:nvPr/>
          </p:nvSpPr>
          <p:spPr>
            <a:xfrm>
              <a:off x="7953762" y="5976249"/>
              <a:ext cx="45719" cy="45719"/>
            </a:xfrm>
            <a:prstGeom prst="ellipse">
              <a:avLst/>
            </a:prstGeom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333" name="Oval 332"/>
            <p:cNvSpPr/>
            <p:nvPr/>
          </p:nvSpPr>
          <p:spPr>
            <a:xfrm>
              <a:off x="8040203" y="5963749"/>
              <a:ext cx="45719" cy="45719"/>
            </a:xfrm>
            <a:prstGeom prst="ellipse">
              <a:avLst/>
            </a:prstGeom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334" name="Oval 333"/>
            <p:cNvSpPr/>
            <p:nvPr/>
          </p:nvSpPr>
          <p:spPr>
            <a:xfrm>
              <a:off x="8107557" y="5946969"/>
              <a:ext cx="45719" cy="45719"/>
            </a:xfrm>
            <a:prstGeom prst="ellipse">
              <a:avLst/>
            </a:prstGeom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297537" y="7873399"/>
            <a:ext cx="3195327" cy="2375501"/>
            <a:chOff x="297537" y="7754699"/>
            <a:chExt cx="3195327" cy="2494201"/>
          </a:xfrm>
        </p:grpSpPr>
        <p:sp>
          <p:nvSpPr>
            <p:cNvPr id="336" name="Rectangle 335"/>
            <p:cNvSpPr/>
            <p:nvPr/>
          </p:nvSpPr>
          <p:spPr>
            <a:xfrm>
              <a:off x="297537" y="7754699"/>
              <a:ext cx="884208" cy="423495"/>
            </a:xfrm>
            <a:prstGeom prst="rect">
              <a:avLst/>
            </a:prstGeom>
            <a:solidFill>
              <a:srgbClr val="1D4BA8"/>
            </a:solidFill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no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900" b="0" i="0" u="none" strike="noStrike" cap="none" spc="0" normalizeH="0" baseline="0" dirty="0" smtClean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Source Sans Pro" panose="020B0503030403020204" pitchFamily="34" charset="0"/>
                  <a:ea typeface="Source Sans Pro" panose="020B0503030403020204" pitchFamily="34" charset="0"/>
                  <a:sym typeface="Helvetica Light"/>
                </a:rPr>
                <a:t>Preprocess</a:t>
              </a:r>
            </a:p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900" b="0" i="0" u="none" strike="noStrike" cap="none" spc="0" normalizeH="0" baseline="0" dirty="0" smtClean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Source Sans Pro" panose="020B0503030403020204" pitchFamily="34" charset="0"/>
                  <a:ea typeface="Source Sans Pro" panose="020B0503030403020204" pitchFamily="34" charset="0"/>
                  <a:sym typeface="Helvetica Light"/>
                </a:rPr>
                <a:t>data</a:t>
              </a:r>
              <a:endParaRPr kumimoji="0" lang="en-US" sz="9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Source Sans Pro" panose="020B0503030403020204" pitchFamily="34" charset="0"/>
                <a:ea typeface="Source Sans Pro" panose="020B0503030403020204" pitchFamily="34" charset="0"/>
                <a:sym typeface="Helvetica Light"/>
              </a:endParaRPr>
            </a:p>
          </p:txBody>
        </p:sp>
        <p:sp>
          <p:nvSpPr>
            <p:cNvPr id="337" name="Rectangle 336"/>
            <p:cNvSpPr/>
            <p:nvPr/>
          </p:nvSpPr>
          <p:spPr>
            <a:xfrm>
              <a:off x="1367270" y="7757476"/>
              <a:ext cx="884208" cy="423495"/>
            </a:xfrm>
            <a:prstGeom prst="rect">
              <a:avLst/>
            </a:prstGeom>
            <a:solidFill>
              <a:srgbClr val="1D4BA8"/>
            </a:solidFill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no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900" b="0" i="0" u="none" strike="noStrike" cap="none" spc="0" normalizeH="0" baseline="0" dirty="0" smtClean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Source Sans Pro" panose="020B0503030403020204" pitchFamily="34" charset="0"/>
                  <a:ea typeface="Source Sans Pro" panose="020B0503030403020204" pitchFamily="34" charset="0"/>
                  <a:sym typeface="Helvetica Light"/>
                </a:rPr>
                <a:t>Create Task</a:t>
              </a:r>
              <a:endParaRPr kumimoji="0" lang="en-US" sz="9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Source Sans Pro" panose="020B0503030403020204" pitchFamily="34" charset="0"/>
                <a:ea typeface="Source Sans Pro" panose="020B0503030403020204" pitchFamily="34" charset="0"/>
                <a:sym typeface="Helvetica Light"/>
              </a:endParaRPr>
            </a:p>
          </p:txBody>
        </p:sp>
        <p:sp>
          <p:nvSpPr>
            <p:cNvPr id="338" name="Rectangle 337"/>
            <p:cNvSpPr/>
            <p:nvPr/>
          </p:nvSpPr>
          <p:spPr>
            <a:xfrm>
              <a:off x="1367270" y="8460540"/>
              <a:ext cx="884208" cy="423495"/>
            </a:xfrm>
            <a:prstGeom prst="rect">
              <a:avLst/>
            </a:prstGeom>
            <a:solidFill>
              <a:srgbClr val="1D4BA8"/>
            </a:solidFill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no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900" b="0" i="0" u="none" strike="noStrike" cap="none" spc="0" normalizeH="0" baseline="0" dirty="0" smtClean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Source Sans Pro" panose="020B0503030403020204" pitchFamily="34" charset="0"/>
                  <a:ea typeface="Source Sans Pro" panose="020B0503030403020204" pitchFamily="34" charset="0"/>
                  <a:sym typeface="Helvetica Light"/>
                </a:rPr>
                <a:t>Create learner</a:t>
              </a:r>
              <a:endParaRPr kumimoji="0" lang="en-US" sz="9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Source Sans Pro" panose="020B0503030403020204" pitchFamily="34" charset="0"/>
                <a:ea typeface="Source Sans Pro" panose="020B0503030403020204" pitchFamily="34" charset="0"/>
                <a:sym typeface="Helvetica Light"/>
              </a:endParaRPr>
            </a:p>
          </p:txBody>
        </p:sp>
        <p:sp>
          <p:nvSpPr>
            <p:cNvPr id="339" name="Rectangle 338"/>
            <p:cNvSpPr/>
            <p:nvPr/>
          </p:nvSpPr>
          <p:spPr>
            <a:xfrm>
              <a:off x="1367270" y="9142972"/>
              <a:ext cx="884208" cy="423495"/>
            </a:xfrm>
            <a:prstGeom prst="rect">
              <a:avLst/>
            </a:prstGeom>
            <a:solidFill>
              <a:srgbClr val="1D4BA8"/>
            </a:solidFill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no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900" b="0" i="0" u="none" strike="noStrike" cap="none" spc="0" normalizeH="0" baseline="0" dirty="0" smtClean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Source Sans Pro" panose="020B0503030403020204" pitchFamily="34" charset="0"/>
                  <a:ea typeface="Source Sans Pro" panose="020B0503030403020204" pitchFamily="34" charset="0"/>
                  <a:sym typeface="Helvetica Light"/>
                </a:rPr>
                <a:t>Train model</a:t>
              </a:r>
              <a:endParaRPr kumimoji="0" lang="en-US" sz="9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Source Sans Pro" panose="020B0503030403020204" pitchFamily="34" charset="0"/>
                <a:ea typeface="Source Sans Pro" panose="020B0503030403020204" pitchFamily="34" charset="0"/>
                <a:sym typeface="Helvetica Light"/>
              </a:endParaRPr>
            </a:p>
          </p:txBody>
        </p:sp>
        <p:sp>
          <p:nvSpPr>
            <p:cNvPr id="340" name="Rectangle 339"/>
            <p:cNvSpPr/>
            <p:nvPr/>
          </p:nvSpPr>
          <p:spPr>
            <a:xfrm>
              <a:off x="1367270" y="9825405"/>
              <a:ext cx="884208" cy="423495"/>
            </a:xfrm>
            <a:prstGeom prst="rect">
              <a:avLst/>
            </a:prstGeom>
            <a:solidFill>
              <a:srgbClr val="1D4BA8"/>
            </a:solidFill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no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900" b="0" i="0" u="none" strike="noStrike" cap="none" spc="0" normalizeH="0" baseline="0" dirty="0" smtClean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Source Sans Pro" panose="020B0503030403020204" pitchFamily="34" charset="0"/>
                  <a:ea typeface="Source Sans Pro" panose="020B0503030403020204" pitchFamily="34" charset="0"/>
                  <a:sym typeface="Helvetica Light"/>
                </a:rPr>
                <a:t>Make </a:t>
              </a:r>
            </a:p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900" b="0" i="0" u="none" strike="noStrike" cap="none" spc="0" normalizeH="0" baseline="0" dirty="0" smtClean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Source Sans Pro" panose="020B0503030403020204" pitchFamily="34" charset="0"/>
                  <a:ea typeface="Source Sans Pro" panose="020B0503030403020204" pitchFamily="34" charset="0"/>
                  <a:sym typeface="Helvetica Light"/>
                </a:rPr>
                <a:t>predictions</a:t>
              </a:r>
              <a:endParaRPr kumimoji="0" lang="en-US" sz="9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Source Sans Pro" panose="020B0503030403020204" pitchFamily="34" charset="0"/>
                <a:ea typeface="Source Sans Pro" panose="020B0503030403020204" pitchFamily="34" charset="0"/>
                <a:sym typeface="Helvetica Light"/>
              </a:endParaRPr>
            </a:p>
          </p:txBody>
        </p:sp>
        <p:cxnSp>
          <p:nvCxnSpPr>
            <p:cNvPr id="343" name="Straight Arrow Connector 342"/>
            <p:cNvCxnSpPr>
              <a:stCxn id="336" idx="3"/>
              <a:endCxn id="337" idx="1"/>
            </p:cNvCxnSpPr>
            <p:nvPr/>
          </p:nvCxnSpPr>
          <p:spPr>
            <a:xfrm>
              <a:off x="1181745" y="7966447"/>
              <a:ext cx="185525" cy="2777"/>
            </a:xfrm>
            <a:prstGeom prst="straightConnector1">
              <a:avLst/>
            </a:prstGeom>
            <a:noFill/>
            <a:ln w="25400" cap="flat">
              <a:solidFill>
                <a:srgbClr val="000000"/>
              </a:solidFill>
              <a:prstDash val="solid"/>
              <a:miter lim="400000"/>
              <a:tailEnd type="triangle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345" name="Straight Arrow Connector 344"/>
            <p:cNvCxnSpPr>
              <a:stCxn id="337" idx="2"/>
              <a:endCxn id="338" idx="0"/>
            </p:cNvCxnSpPr>
            <p:nvPr/>
          </p:nvCxnSpPr>
          <p:spPr>
            <a:xfrm>
              <a:off x="1809374" y="8180971"/>
              <a:ext cx="0" cy="279569"/>
            </a:xfrm>
            <a:prstGeom prst="straightConnector1">
              <a:avLst/>
            </a:prstGeom>
            <a:noFill/>
            <a:ln w="25400" cap="flat">
              <a:solidFill>
                <a:srgbClr val="000000"/>
              </a:solidFill>
              <a:prstDash val="solid"/>
              <a:miter lim="400000"/>
              <a:tailEnd type="triangle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347" name="Straight Arrow Connector 346"/>
            <p:cNvCxnSpPr>
              <a:stCxn id="338" idx="2"/>
              <a:endCxn id="339" idx="0"/>
            </p:cNvCxnSpPr>
            <p:nvPr/>
          </p:nvCxnSpPr>
          <p:spPr>
            <a:xfrm>
              <a:off x="1809374" y="8884034"/>
              <a:ext cx="0" cy="258938"/>
            </a:xfrm>
            <a:prstGeom prst="straightConnector1">
              <a:avLst/>
            </a:prstGeom>
            <a:noFill/>
            <a:ln w="25400" cap="flat">
              <a:solidFill>
                <a:srgbClr val="000000"/>
              </a:solidFill>
              <a:prstDash val="solid"/>
              <a:miter lim="400000"/>
              <a:tailEnd type="triangle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349" name="Straight Arrow Connector 348"/>
            <p:cNvCxnSpPr>
              <a:stCxn id="339" idx="2"/>
              <a:endCxn id="340" idx="0"/>
            </p:cNvCxnSpPr>
            <p:nvPr/>
          </p:nvCxnSpPr>
          <p:spPr>
            <a:xfrm>
              <a:off x="1809374" y="9566467"/>
              <a:ext cx="0" cy="258938"/>
            </a:xfrm>
            <a:prstGeom prst="straightConnector1">
              <a:avLst/>
            </a:prstGeom>
            <a:noFill/>
            <a:ln w="25400" cap="flat">
              <a:solidFill>
                <a:srgbClr val="000000"/>
              </a:solidFill>
              <a:prstDash val="solid"/>
              <a:miter lim="400000"/>
              <a:tailEnd type="triangle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sp>
          <p:nvSpPr>
            <p:cNvPr id="358" name="Rectangle 357"/>
            <p:cNvSpPr/>
            <p:nvPr/>
          </p:nvSpPr>
          <p:spPr>
            <a:xfrm>
              <a:off x="297537" y="8460540"/>
              <a:ext cx="884208" cy="423495"/>
            </a:xfrm>
            <a:prstGeom prst="rect">
              <a:avLst/>
            </a:prstGeom>
            <a:solidFill>
              <a:srgbClr val="1D4BA8"/>
            </a:solidFill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no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900" b="0" i="0" u="none" strike="noStrike" cap="none" spc="0" normalizeH="0" baseline="0" dirty="0" smtClean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Source Sans Pro" panose="020B0503030403020204" pitchFamily="34" charset="0"/>
                  <a:ea typeface="Source Sans Pro" panose="020B0503030403020204" pitchFamily="34" charset="0"/>
                  <a:sym typeface="Helvetica Light"/>
                </a:rPr>
                <a:t>Set hyper-</a:t>
              </a:r>
            </a:p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en-US" sz="900" dirty="0" smtClean="0">
                  <a:solidFill>
                    <a:srgbClr val="FFFFFF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</a:rPr>
                <a:t>parameters</a:t>
              </a:r>
              <a:endParaRPr kumimoji="0" lang="en-US" sz="9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Source Sans Pro" panose="020B0503030403020204" pitchFamily="34" charset="0"/>
                <a:ea typeface="Source Sans Pro" panose="020B0503030403020204" pitchFamily="34" charset="0"/>
                <a:sym typeface="Helvetica Light"/>
              </a:endParaRPr>
            </a:p>
          </p:txBody>
        </p:sp>
        <p:cxnSp>
          <p:nvCxnSpPr>
            <p:cNvPr id="360" name="Straight Arrow Connector 359"/>
            <p:cNvCxnSpPr>
              <a:stCxn id="358" idx="3"/>
              <a:endCxn id="338" idx="1"/>
            </p:cNvCxnSpPr>
            <p:nvPr/>
          </p:nvCxnSpPr>
          <p:spPr>
            <a:xfrm>
              <a:off x="1181745" y="8672288"/>
              <a:ext cx="185525" cy="0"/>
            </a:xfrm>
            <a:prstGeom prst="straightConnector1">
              <a:avLst/>
            </a:prstGeom>
            <a:noFill/>
            <a:ln w="25400" cap="flat">
              <a:solidFill>
                <a:srgbClr val="000000"/>
              </a:solidFill>
              <a:prstDash val="solid"/>
              <a:miter lim="400000"/>
              <a:tailEnd type="triangle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grpSp>
          <p:nvGrpSpPr>
            <p:cNvPr id="378" name="Group 377"/>
            <p:cNvGrpSpPr/>
            <p:nvPr/>
          </p:nvGrpSpPr>
          <p:grpSpPr>
            <a:xfrm>
              <a:off x="2320413" y="8801754"/>
              <a:ext cx="1172451" cy="1105929"/>
              <a:chOff x="2320413" y="9142971"/>
              <a:chExt cx="1172451" cy="1105929"/>
            </a:xfrm>
          </p:grpSpPr>
          <p:sp>
            <p:nvSpPr>
              <p:cNvPr id="367" name="Rectangle 366"/>
              <p:cNvSpPr/>
              <p:nvPr/>
            </p:nvSpPr>
            <p:spPr>
              <a:xfrm>
                <a:off x="2463820" y="9825405"/>
                <a:ext cx="884208" cy="423495"/>
              </a:xfrm>
              <a:prstGeom prst="rect">
                <a:avLst/>
              </a:prstGeom>
              <a:solidFill>
                <a:srgbClr val="1D4BA8"/>
              </a:solidFill>
              <a:ln w="12700" cap="flat">
                <a:noFill/>
                <a:miter lim="400000"/>
              </a:ln>
              <a:effectLst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54570" tIns="54570" rIns="54570" bIns="54570" numCol="1" spcCol="38100" rtlCol="0" anchor="ctr">
                <a:noAutofit/>
              </a:bodyPr>
              <a:lstStyle/>
              <a:p>
                <a:pPr marL="0" marR="0" indent="0" algn="ctr" defTabSz="584200" rtl="0" fontAlgn="auto" latinLnBrk="1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900" b="0" i="0" u="none" strike="noStrike" cap="none" spc="0" normalizeH="0" baseline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FillTx/>
                    <a:latin typeface="Source Sans Pro" panose="020B0503030403020204" pitchFamily="34" charset="0"/>
                    <a:ea typeface="Source Sans Pro" panose="020B0503030403020204" pitchFamily="34" charset="0"/>
                    <a:sym typeface="Helvetica Light"/>
                  </a:rPr>
                  <a:t>Resample</a:t>
                </a:r>
                <a:r>
                  <a:rPr kumimoji="0" lang="en-US" sz="900" b="0" i="0" u="none" strike="noStrike" cap="none" spc="0" normalizeH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FillTx/>
                    <a:latin typeface="Source Sans Pro" panose="020B0503030403020204" pitchFamily="34" charset="0"/>
                    <a:ea typeface="Source Sans Pro" panose="020B0503030403020204" pitchFamily="34" charset="0"/>
                    <a:sym typeface="Helvetica Light"/>
                  </a:rPr>
                  <a:t> and measure</a:t>
                </a:r>
                <a:endParaRPr kumimoji="0" lang="en-US" sz="900" b="0" i="0" u="none" strike="noStrike" cap="none" spc="0" normalizeH="0" baseline="0" dirty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Source Sans Pro" panose="020B0503030403020204" pitchFamily="34" charset="0"/>
                  <a:ea typeface="Source Sans Pro" panose="020B0503030403020204" pitchFamily="34" charset="0"/>
                  <a:sym typeface="Helvetica Light"/>
                </a:endParaRPr>
              </a:p>
            </p:txBody>
          </p:sp>
          <p:sp>
            <p:nvSpPr>
              <p:cNvPr id="369" name="Rectangle 368"/>
              <p:cNvSpPr/>
              <p:nvPr/>
            </p:nvSpPr>
            <p:spPr>
              <a:xfrm>
                <a:off x="2463820" y="9142971"/>
                <a:ext cx="884208" cy="423495"/>
              </a:xfrm>
              <a:prstGeom prst="rect">
                <a:avLst/>
              </a:prstGeom>
              <a:solidFill>
                <a:srgbClr val="1D4BA8"/>
              </a:solidFill>
              <a:ln w="12700" cap="flat">
                <a:noFill/>
                <a:miter lim="400000"/>
              </a:ln>
              <a:effectLst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54570" tIns="54570" rIns="54570" bIns="54570" numCol="1" spcCol="38100" rtlCol="0" anchor="ctr">
                <a:noAutofit/>
              </a:bodyPr>
              <a:lstStyle/>
              <a:p>
                <a:pPr marL="0" marR="0" indent="0" algn="ctr" defTabSz="584200" rtl="0" fontAlgn="auto" latinLnBrk="1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900" b="0" i="0" u="none" strike="noStrike" cap="none" spc="0" normalizeH="0" baseline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FillTx/>
                    <a:latin typeface="Source Sans Pro" panose="020B0503030403020204" pitchFamily="34" charset="0"/>
                    <a:ea typeface="Source Sans Pro" panose="020B0503030403020204" pitchFamily="34" charset="0"/>
                    <a:sym typeface="Helvetica Light"/>
                  </a:rPr>
                  <a:t>Tune</a:t>
                </a:r>
              </a:p>
              <a:p>
                <a:pPr marL="0" marR="0" indent="0" algn="ctr" defTabSz="584200" rtl="0" fontAlgn="auto" latinLnBrk="1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900" b="0" i="0" u="none" strike="noStrike" cap="none" spc="0" normalizeH="0" baseline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FillTx/>
                    <a:latin typeface="Source Sans Pro" panose="020B0503030403020204" pitchFamily="34" charset="0"/>
                    <a:ea typeface="Source Sans Pro" panose="020B0503030403020204" pitchFamily="34" charset="0"/>
                    <a:sym typeface="Helvetica Light"/>
                  </a:rPr>
                  <a:t>parameters</a:t>
                </a:r>
                <a:endParaRPr kumimoji="0" lang="en-US" sz="900" b="0" i="0" u="none" strike="noStrike" cap="none" spc="0" normalizeH="0" baseline="0" dirty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Source Sans Pro" panose="020B0503030403020204" pitchFamily="34" charset="0"/>
                  <a:ea typeface="Source Sans Pro" panose="020B0503030403020204" pitchFamily="34" charset="0"/>
                  <a:sym typeface="Helvetica Light"/>
                </a:endParaRPr>
              </a:p>
            </p:txBody>
          </p:sp>
          <p:sp>
            <p:nvSpPr>
              <p:cNvPr id="373" name="Curved Right Arrow 372"/>
              <p:cNvSpPr/>
              <p:nvPr/>
            </p:nvSpPr>
            <p:spPr>
              <a:xfrm flipH="1" flipV="1">
                <a:off x="3348688" y="9461646"/>
                <a:ext cx="144176" cy="461962"/>
              </a:xfrm>
              <a:prstGeom prst="curvedRightArrow">
                <a:avLst>
                  <a:gd name="adj1" fmla="val 50000"/>
                  <a:gd name="adj2" fmla="val 111599"/>
                  <a:gd name="adj3" fmla="val 25000"/>
                </a:avLst>
              </a:prstGeom>
              <a:solidFill>
                <a:srgbClr val="0070C0"/>
              </a:solidFill>
              <a:ln>
                <a:noFill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ot="0" spcFirstLastPara="1" vertOverflow="overflow" horzOverflow="overflow" vert="horz" wrap="square" lIns="54570" tIns="54570" rIns="54570" bIns="54570" numCol="1" spcCol="38100" rtlCol="0" anchor="ctr">
                <a:spAutoFit/>
              </a:bodyPr>
              <a:lstStyle/>
              <a:p>
                <a:pPr marL="0" marR="0" indent="0" algn="ctr" defTabSz="584200" rtl="0" fontAlgn="auto" latinLnBrk="1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2600" b="0" i="0" u="none" strike="noStrike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Light"/>
                </a:endParaRPr>
              </a:p>
            </p:txBody>
          </p:sp>
          <p:sp>
            <p:nvSpPr>
              <p:cNvPr id="374" name="Curved Right Arrow 373"/>
              <p:cNvSpPr/>
              <p:nvPr/>
            </p:nvSpPr>
            <p:spPr>
              <a:xfrm>
                <a:off x="2320413" y="9461646"/>
                <a:ext cx="144176" cy="461962"/>
              </a:xfrm>
              <a:prstGeom prst="curvedRightArrow">
                <a:avLst>
                  <a:gd name="adj1" fmla="val 50000"/>
                  <a:gd name="adj2" fmla="val 111599"/>
                  <a:gd name="adj3" fmla="val 25000"/>
                </a:avLst>
              </a:prstGeom>
              <a:solidFill>
                <a:srgbClr val="0070C0"/>
              </a:solidFill>
              <a:ln>
                <a:noFill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ot="0" spcFirstLastPara="1" vertOverflow="overflow" horzOverflow="overflow" vert="horz" wrap="square" lIns="54570" tIns="54570" rIns="54570" bIns="54570" numCol="1" spcCol="38100" rtlCol="0" anchor="ctr">
                <a:spAutoFit/>
              </a:bodyPr>
              <a:lstStyle/>
              <a:p>
                <a:pPr marL="0" marR="0" indent="0" algn="ctr" defTabSz="584200" rtl="0" fontAlgn="auto" latinLnBrk="1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2600" b="0" i="0" u="none" strike="noStrike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Light"/>
                </a:endParaRPr>
              </a:p>
            </p:txBody>
          </p:sp>
        </p:grpSp>
        <p:cxnSp>
          <p:nvCxnSpPr>
            <p:cNvPr id="380" name="Straight Arrow Connector 379"/>
            <p:cNvCxnSpPr>
              <a:endCxn id="367" idx="1"/>
            </p:cNvCxnSpPr>
            <p:nvPr/>
          </p:nvCxnSpPr>
          <p:spPr>
            <a:xfrm>
              <a:off x="2251478" y="9576328"/>
              <a:ext cx="212342" cy="119607"/>
            </a:xfrm>
            <a:prstGeom prst="straightConnector1">
              <a:avLst/>
            </a:prstGeom>
            <a:noFill/>
            <a:ln w="25400" cap="flat">
              <a:solidFill>
                <a:srgbClr val="000000"/>
              </a:solidFill>
              <a:prstDash val="solid"/>
              <a:miter lim="400000"/>
              <a:tailEnd type="triangle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382" name="Straight Arrow Connector 381"/>
            <p:cNvCxnSpPr>
              <a:stCxn id="369" idx="1"/>
            </p:cNvCxnSpPr>
            <p:nvPr/>
          </p:nvCxnSpPr>
          <p:spPr>
            <a:xfrm flipH="1">
              <a:off x="2251478" y="9013502"/>
              <a:ext cx="212342" cy="145393"/>
            </a:xfrm>
            <a:prstGeom prst="straightConnector1">
              <a:avLst/>
            </a:prstGeom>
            <a:noFill/>
            <a:ln w="25400" cap="flat">
              <a:solidFill>
                <a:srgbClr val="000000"/>
              </a:solidFill>
              <a:prstDash val="solid"/>
              <a:miter lim="400000"/>
              <a:tailEnd type="triangle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</p:grpSp>
      <p:sp>
        <p:nvSpPr>
          <p:cNvPr id="383" name="TextBox 382"/>
          <p:cNvSpPr txBox="1"/>
          <p:nvPr/>
        </p:nvSpPr>
        <p:spPr>
          <a:xfrm>
            <a:off x="297537" y="7451823"/>
            <a:ext cx="3164847" cy="387205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4570" tIns="54570" rIns="54570" bIns="54570" numCol="1" spcCol="38100" rtlCol="0" anchor="ctr">
            <a:sp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800" dirty="0" err="1" smtClean="0">
                <a:solidFill>
                  <a:srgbClr val="0070C0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mlr</a:t>
            </a:r>
            <a:r>
              <a:rPr kumimoji="0" lang="en-US" sz="1800" i="0" u="none" strike="noStrike" cap="none" spc="0" normalizeH="0" baseline="0" dirty="0" smtClean="0">
                <a:ln>
                  <a:noFill/>
                </a:ln>
                <a:solidFill>
                  <a:srgbClr val="0070C0"/>
                </a:solidFill>
                <a:effectLst/>
                <a:uFillTx/>
                <a:latin typeface="Source Sans Pro" panose="020B0503030403020204" pitchFamily="34" charset="0"/>
                <a:ea typeface="Source Sans Pro" panose="020B0503030403020204" pitchFamily="34" charset="0"/>
                <a:sym typeface="Helvetica Light"/>
              </a:rPr>
              <a:t> workflow</a:t>
            </a:r>
            <a:endParaRPr kumimoji="0" lang="en-US" sz="1800" i="0" u="none" strike="noStrike" cap="none" spc="0" normalizeH="0" baseline="0" dirty="0">
              <a:ln>
                <a:noFill/>
              </a:ln>
              <a:solidFill>
                <a:srgbClr val="0070C0"/>
              </a:solidFill>
              <a:effectLst/>
              <a:uFillTx/>
              <a:latin typeface="Source Sans Pro" panose="020B0503030403020204" pitchFamily="34" charset="0"/>
              <a:ea typeface="Source Sans Pro" panose="020B0503030403020204" pitchFamily="34" charset="0"/>
              <a:sym typeface="Helvetica Light"/>
            </a:endParaRPr>
          </a:p>
        </p:txBody>
      </p:sp>
      <p:sp>
        <p:nvSpPr>
          <p:cNvPr id="384" name="Shape 39"/>
          <p:cNvSpPr/>
          <p:nvPr/>
        </p:nvSpPr>
        <p:spPr>
          <a:xfrm>
            <a:off x="232450" y="10516629"/>
            <a:ext cx="7252780" cy="2348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54570" tIns="54570" rIns="54570" bIns="54570" anchor="ctr">
            <a:spAutoFit/>
          </a:bodyPr>
          <a:lstStyle/>
          <a:p>
            <a:pPr lvl="0" algn="l">
              <a:lnSpc>
                <a:spcPct val="90000"/>
              </a:lnSpc>
              <a:defRPr sz="1800"/>
            </a:pPr>
            <a:r>
              <a:rPr lang="en-US" sz="900" dirty="0" err="1">
                <a:latin typeface="Source Sans Pro Light"/>
                <a:ea typeface="Source Sans Pro Light"/>
                <a:cs typeface="Source Sans Pro Light"/>
                <a:sym typeface="Source Sans Pro Light"/>
              </a:rPr>
              <a:t>mlr</a:t>
            </a:r>
            <a:r>
              <a:rPr lang="en-US" sz="900" dirty="0">
                <a:latin typeface="Source Sans Pro Light"/>
                <a:ea typeface="Source Sans Pro Light"/>
                <a:cs typeface="Source Sans Pro Light"/>
                <a:sym typeface="Source Sans Pro Light"/>
              </a:rPr>
              <a:t> </a:t>
            </a:r>
            <a:r>
              <a:rPr lang="en-US" sz="900" dirty="0" err="1" smtClean="0">
                <a:latin typeface="Source Sans Pro Light"/>
                <a:ea typeface="Source Sans Pro Light"/>
                <a:cs typeface="Source Sans Pro Light"/>
                <a:sym typeface="Source Sans Pro Light"/>
              </a:rPr>
              <a:t>cheatsheet</a:t>
            </a:r>
            <a:r>
              <a:rPr lang="en-US" sz="900" dirty="0" smtClean="0">
                <a:latin typeface="Source Sans Pro Light"/>
                <a:ea typeface="Source Sans Pro Light"/>
                <a:cs typeface="Source Sans Pro Light"/>
                <a:sym typeface="Source Sans Pro Light"/>
              </a:rPr>
              <a:t> </a:t>
            </a:r>
            <a:r>
              <a:rPr sz="900" dirty="0" smtClean="0">
                <a:solidFill>
                  <a:srgbClr val="0365C0"/>
                </a:solidFill>
                <a:latin typeface="Source Sans Pro Light"/>
                <a:ea typeface="Source Sans Pro Light"/>
                <a:cs typeface="Source Sans Pro Light"/>
                <a:sym typeface="Source Sans Pro Light"/>
                <a:hlinkClick r:id="rId10"/>
              </a:rPr>
              <a:t>CC </a:t>
            </a:r>
            <a:r>
              <a:rPr sz="900" dirty="0">
                <a:solidFill>
                  <a:srgbClr val="0365C0"/>
                </a:solidFill>
                <a:latin typeface="Source Sans Pro Light"/>
                <a:ea typeface="Source Sans Pro Light"/>
                <a:cs typeface="Source Sans Pro Light"/>
                <a:sym typeface="Source Sans Pro Light"/>
                <a:hlinkClick r:id="rId10"/>
              </a:rPr>
              <a:t>BY </a:t>
            </a:r>
            <a:r>
              <a:rPr lang="en-US" sz="900" dirty="0" smtClean="0">
                <a:latin typeface="Source Sans Pro Light"/>
                <a:ea typeface="Source Sans Pro Light"/>
                <a:cs typeface="Source Sans Pro Light"/>
                <a:sym typeface="Source Sans Pro Light"/>
              </a:rPr>
              <a:t>Aaron Cooley </a:t>
            </a:r>
            <a:r>
              <a:rPr sz="900" dirty="0" smtClean="0">
                <a:latin typeface="Source Sans Pro Light"/>
                <a:ea typeface="Source Sans Pro Light"/>
                <a:cs typeface="Source Sans Pro Light"/>
                <a:sym typeface="Source Sans Pro Light"/>
              </a:rPr>
              <a:t>• </a:t>
            </a:r>
            <a:r>
              <a:rPr lang="en-US" sz="900" dirty="0" smtClean="0">
                <a:latin typeface="Source Sans Pro Light"/>
                <a:ea typeface="Source Sans Pro Light"/>
                <a:cs typeface="Source Sans Pro Light"/>
                <a:sym typeface="Source Sans Pro Light"/>
              </a:rPr>
              <a:t>aaronsama@gmail.com</a:t>
            </a:r>
            <a:r>
              <a:rPr sz="900" dirty="0" smtClean="0">
                <a:latin typeface="Source Sans Pro Light"/>
                <a:ea typeface="Source Sans Pro Light"/>
                <a:cs typeface="Source Sans Pro Light"/>
                <a:sym typeface="Source Sans Pro Light"/>
              </a:rPr>
              <a:t> •</a:t>
            </a:r>
            <a:r>
              <a:rPr lang="en-US" sz="900" dirty="0" smtClean="0">
                <a:latin typeface="Source Sans Pro Light"/>
                <a:ea typeface="Source Sans Pro Light"/>
                <a:cs typeface="Source Sans Pro Light"/>
                <a:sym typeface="Source Sans Pro Light"/>
              </a:rPr>
              <a:t> </a:t>
            </a:r>
            <a:r>
              <a:rPr lang="en-US" sz="900" dirty="0">
                <a:latin typeface="Source Sans Pro Light"/>
                <a:ea typeface="Source Sans Pro Light"/>
                <a:cs typeface="Source Sans Pro Light"/>
                <a:sym typeface="Source Sans Pro Light"/>
              </a:rPr>
              <a:t>Learn more </a:t>
            </a:r>
            <a:r>
              <a:rPr lang="en-US" sz="900" dirty="0" smtClean="0">
                <a:latin typeface="Source Sans Pro Light"/>
                <a:ea typeface="Source Sans Pro Light"/>
                <a:cs typeface="Source Sans Pro Light"/>
                <a:sym typeface="Source Sans Pro Light"/>
              </a:rPr>
              <a:t>about </a:t>
            </a:r>
            <a:r>
              <a:rPr lang="en-US" sz="900" dirty="0" err="1" smtClean="0">
                <a:latin typeface="Source Sans Pro Light"/>
                <a:ea typeface="Source Sans Pro Light"/>
                <a:cs typeface="Source Sans Pro Light"/>
                <a:sym typeface="Source Sans Pro Light"/>
              </a:rPr>
              <a:t>mlr</a:t>
            </a:r>
            <a:r>
              <a:rPr lang="en-US" sz="900" dirty="0" smtClean="0">
                <a:latin typeface="Source Sans Pro Light"/>
                <a:ea typeface="Source Sans Pro Light"/>
                <a:cs typeface="Source Sans Pro Light"/>
                <a:sym typeface="Source Sans Pro Light"/>
              </a:rPr>
              <a:t> at </a:t>
            </a:r>
            <a:r>
              <a:rPr lang="en-US" sz="900" dirty="0">
                <a:latin typeface="Source Sans Pro Light"/>
                <a:ea typeface="Source Sans Pro Light"/>
                <a:cs typeface="Source Sans Pro Light"/>
                <a:sym typeface="Source Sans Pro Light"/>
                <a:hlinkClick r:id="rId11"/>
              </a:rPr>
              <a:t>https://mlr-org.github.io/mlr-tutorial/devel/html/</a:t>
            </a:r>
            <a:endParaRPr sz="900" dirty="0">
              <a:latin typeface="Source Sans Pro Light"/>
              <a:ea typeface="Source Sans Pro Light"/>
              <a:cs typeface="Source Sans Pro Light"/>
              <a:sym typeface="Source Sans Pro Light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0436984" y="10120221"/>
            <a:ext cx="3263902" cy="409717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54570" tIns="54570" rIns="54570" bIns="54570" numCol="1" spcCol="38100" rtlCol="0" anchor="t">
            <a:noAutofit/>
          </a:bodyPr>
          <a:lstStyle/>
          <a:p>
            <a:pPr marL="0" marR="0" indent="0" algn="l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Source Sans Pro" panose="020B0503030403020204" pitchFamily="34" charset="0"/>
                <a:ea typeface="Source Sans Pro" panose="020B0503030403020204" pitchFamily="34" charset="0"/>
                <a:sym typeface="Helvetica Light"/>
              </a:rPr>
              <a:t>Legend for functions (not all parameters shown):</a:t>
            </a:r>
          </a:p>
          <a:p>
            <a:pPr marL="0" marR="0" indent="0" algn="l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800" dirty="0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</a:rPr>
              <a:t>function(</a:t>
            </a:r>
            <a:r>
              <a:rPr lang="en-US" sz="800" dirty="0" err="1" smtClean="0">
                <a:solidFill>
                  <a:schemeClr val="tx1"/>
                </a:solidFill>
                <a:latin typeface="Consolas" panose="020B0609020204030204" pitchFamily="49" charset="0"/>
                <a:ea typeface="Source Sans Pro" panose="020B0503030403020204" pitchFamily="34" charset="0"/>
              </a:rPr>
              <a:t>required_parameters</a:t>
            </a:r>
            <a:r>
              <a:rPr lang="en-US" sz="800" dirty="0" smtClean="0">
                <a:solidFill>
                  <a:schemeClr val="tx1"/>
                </a:solidFill>
                <a:latin typeface="Consolas" panose="020B0609020204030204" pitchFamily="49" charset="0"/>
                <a:ea typeface="Source Sans Pro" panose="020B0503030403020204" pitchFamily="34" charset="0"/>
              </a:rPr>
              <a:t>=,</a:t>
            </a:r>
            <a:r>
              <a:rPr lang="en-US" sz="800" dirty="0" err="1" smtClean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  <a:ea typeface="Source Sans Pro" panose="020B0503030403020204" pitchFamily="34" charset="0"/>
              </a:rPr>
              <a:t>optional_parameters</a:t>
            </a:r>
            <a:r>
              <a:rPr lang="en-US" sz="800" dirty="0" smtClean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  <a:ea typeface="Source Sans Pro" panose="020B0503030403020204" pitchFamily="34" charset="0"/>
              </a:rPr>
              <a:t>=</a:t>
            </a:r>
            <a:r>
              <a:rPr lang="en-US" sz="800" dirty="0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</a:rPr>
              <a:t>)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650" y="950850"/>
            <a:ext cx="1233570" cy="882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388878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39"/>
          <p:cNvSpPr/>
          <p:nvPr/>
        </p:nvSpPr>
        <p:spPr>
          <a:xfrm>
            <a:off x="232450" y="10478529"/>
            <a:ext cx="8454350" cy="2348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54570" tIns="54570" rIns="54570" bIns="54570" anchor="ctr">
            <a:spAutoFit/>
          </a:bodyPr>
          <a:lstStyle/>
          <a:p>
            <a:pPr lvl="0" algn="l">
              <a:lnSpc>
                <a:spcPct val="90000"/>
              </a:lnSpc>
              <a:defRPr sz="1800"/>
            </a:pPr>
            <a:r>
              <a:rPr lang="en-US" sz="900" dirty="0" err="1">
                <a:latin typeface="Source Sans Pro Light"/>
                <a:ea typeface="Source Sans Pro Light"/>
                <a:cs typeface="Source Sans Pro Light"/>
                <a:sym typeface="Source Sans Pro Light"/>
              </a:rPr>
              <a:t>mlr</a:t>
            </a:r>
            <a:r>
              <a:rPr lang="en-US" sz="900" dirty="0">
                <a:latin typeface="Source Sans Pro Light"/>
                <a:ea typeface="Source Sans Pro Light"/>
                <a:cs typeface="Source Sans Pro Light"/>
                <a:sym typeface="Source Sans Pro Light"/>
              </a:rPr>
              <a:t> </a:t>
            </a:r>
            <a:r>
              <a:rPr lang="en-US" sz="900" dirty="0" err="1">
                <a:latin typeface="Source Sans Pro Light"/>
                <a:ea typeface="Source Sans Pro Light"/>
                <a:cs typeface="Source Sans Pro Light"/>
                <a:sym typeface="Source Sans Pro Light"/>
              </a:rPr>
              <a:t>cheatsheet</a:t>
            </a:r>
            <a:r>
              <a:rPr lang="en-US" sz="900" dirty="0">
                <a:latin typeface="Source Sans Pro Light"/>
                <a:ea typeface="Source Sans Pro Light"/>
                <a:cs typeface="Source Sans Pro Light"/>
                <a:sym typeface="Source Sans Pro Light"/>
              </a:rPr>
              <a:t> </a:t>
            </a:r>
            <a:r>
              <a:rPr lang="en-US" sz="900" dirty="0">
                <a:solidFill>
                  <a:srgbClr val="0365C0"/>
                </a:solidFill>
                <a:latin typeface="Source Sans Pro Light"/>
                <a:ea typeface="Source Sans Pro Light"/>
                <a:cs typeface="Source Sans Pro Light"/>
                <a:sym typeface="Source Sans Pro Light"/>
                <a:hlinkClick r:id="rId2"/>
              </a:rPr>
              <a:t>CC BY </a:t>
            </a:r>
            <a:r>
              <a:rPr lang="en-US" sz="900" dirty="0">
                <a:latin typeface="Source Sans Pro Light"/>
                <a:ea typeface="Source Sans Pro Light"/>
                <a:cs typeface="Source Sans Pro Light"/>
                <a:sym typeface="Source Sans Pro Light"/>
              </a:rPr>
              <a:t>Aaron Cooley • aaronsama@gmail.com • Learn more about </a:t>
            </a:r>
            <a:r>
              <a:rPr lang="en-US" sz="900" dirty="0" err="1">
                <a:latin typeface="Source Sans Pro Light"/>
                <a:ea typeface="Source Sans Pro Light"/>
                <a:cs typeface="Source Sans Pro Light"/>
                <a:sym typeface="Source Sans Pro Light"/>
              </a:rPr>
              <a:t>mlr</a:t>
            </a:r>
            <a:r>
              <a:rPr lang="en-US" sz="900" dirty="0">
                <a:latin typeface="Source Sans Pro Light"/>
                <a:ea typeface="Source Sans Pro Light"/>
                <a:cs typeface="Source Sans Pro Light"/>
                <a:sym typeface="Source Sans Pro Light"/>
              </a:rPr>
              <a:t> at </a:t>
            </a:r>
            <a:r>
              <a:rPr lang="en-US" sz="900" dirty="0">
                <a:latin typeface="Source Sans Pro Light"/>
                <a:ea typeface="Source Sans Pro Light"/>
                <a:cs typeface="Source Sans Pro Light"/>
                <a:sym typeface="Source Sans Pro Light"/>
                <a:hlinkClick r:id="rId3"/>
              </a:rPr>
              <a:t>https://mlr-org.github.io/mlr-tutorial/devel/html/</a:t>
            </a:r>
            <a:endParaRPr lang="en-US" sz="900" dirty="0">
              <a:latin typeface="Source Sans Pro Light"/>
              <a:ea typeface="Source Sans Pro Light"/>
              <a:cs typeface="Source Sans Pro Light"/>
              <a:sym typeface="Source Sans Pro Light"/>
            </a:endParaRPr>
          </a:p>
        </p:txBody>
      </p:sp>
      <p:grpSp>
        <p:nvGrpSpPr>
          <p:cNvPr id="20" name="Group 19"/>
          <p:cNvGrpSpPr/>
          <p:nvPr/>
        </p:nvGrpSpPr>
        <p:grpSpPr>
          <a:xfrm>
            <a:off x="7063556" y="256193"/>
            <a:ext cx="3275674" cy="10222336"/>
            <a:chOff x="7063556" y="256193"/>
            <a:chExt cx="3275674" cy="10222336"/>
          </a:xfrm>
        </p:grpSpPr>
        <p:sp>
          <p:nvSpPr>
            <p:cNvPr id="16" name="Rechteck 71"/>
            <p:cNvSpPr/>
            <p:nvPr/>
          </p:nvSpPr>
          <p:spPr>
            <a:xfrm>
              <a:off x="7075328" y="363813"/>
              <a:ext cx="3263902" cy="10114716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no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de-DE" sz="26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lang="de-DE" sz="2600" dirty="0">
                <a:solidFill>
                  <a:srgbClr val="FFFFFF"/>
                </a:solidFill>
              </a:endParaRPr>
            </a:p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de-DE" sz="26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lang="de-DE" sz="2600" dirty="0">
                <a:solidFill>
                  <a:srgbClr val="FFFFFF"/>
                </a:solidFill>
              </a:endParaRPr>
            </a:p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de-DE" sz="26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lang="de-DE" sz="2600" dirty="0">
                <a:solidFill>
                  <a:srgbClr val="FFFFFF"/>
                </a:solidFill>
              </a:endParaRPr>
            </a:p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de-DE" sz="26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lang="de-DE" sz="2600" dirty="0">
                <a:solidFill>
                  <a:srgbClr val="FFFFFF"/>
                </a:solidFill>
              </a:endParaRPr>
            </a:p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de-DE" sz="26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lang="de-DE" sz="2600" dirty="0">
                <a:solidFill>
                  <a:srgbClr val="FFFFFF"/>
                </a:solidFill>
              </a:endParaRPr>
            </a:p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de-DE" sz="26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17" name="Shape 38"/>
            <p:cNvSpPr/>
            <p:nvPr/>
          </p:nvSpPr>
          <p:spPr>
            <a:xfrm>
              <a:off x="7063556" y="256193"/>
              <a:ext cx="3263902" cy="337903"/>
            </a:xfrm>
            <a:prstGeom prst="roundRect">
              <a:avLst>
                <a:gd name="adj" fmla="val 20098"/>
              </a:avLst>
            </a:prstGeom>
            <a:solidFill>
              <a:srgbClr val="1D4BA8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lIns="0" tIns="0" rIns="0" bIns="0" anchor="ctr"/>
            <a:lstStyle/>
            <a:p>
              <a:pPr lvl="1" indent="0">
                <a:defRPr sz="1800"/>
              </a:pPr>
              <a:r>
                <a:rPr lang="en-GB" sz="2000" dirty="0" smtClean="0">
                  <a:solidFill>
                    <a:srgbClr val="FFFFFF"/>
                  </a:solidFill>
                  <a:latin typeface="Arial" panose="020B0604020202020204" pitchFamily="34" charset="0"/>
                  <a:ea typeface="Source Sans Pro"/>
                  <a:cs typeface="Arial" panose="020B0604020202020204" pitchFamily="34" charset="0"/>
                  <a:sym typeface="Source Sans Pro"/>
                </a:rPr>
                <a:t>Visualization</a:t>
              </a:r>
              <a:endParaRPr sz="2000" dirty="0">
                <a:solidFill>
                  <a:srgbClr val="FFFFFF"/>
                </a:solidFill>
                <a:latin typeface="Arial" panose="020B0604020202020204" pitchFamily="34" charset="0"/>
                <a:ea typeface="Source Sans Pro"/>
                <a:cs typeface="Arial" panose="020B0604020202020204" pitchFamily="34" charset="0"/>
                <a:sym typeface="Source Sans Pro"/>
              </a:endParaRPr>
            </a:p>
          </p:txBody>
        </p:sp>
        <p:sp>
          <p:nvSpPr>
            <p:cNvPr id="18" name="Abgerundetes Rechteck 73"/>
            <p:cNvSpPr/>
            <p:nvPr/>
          </p:nvSpPr>
          <p:spPr>
            <a:xfrm>
              <a:off x="7215050" y="701716"/>
              <a:ext cx="2960914" cy="9684839"/>
            </a:xfrm>
            <a:prstGeom prst="roundRect">
              <a:avLst>
                <a:gd name="adj" fmla="val 4902"/>
              </a:avLst>
            </a:prstGeom>
            <a:solidFill>
              <a:schemeClr val="bg1"/>
            </a:solidFill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4570" tIns="0" rIns="54570" bIns="0" numCol="1" spcCol="38100" rtlCol="0" anchor="t">
              <a:noAutofit/>
            </a:bodyPr>
            <a:lstStyle/>
            <a:p>
              <a:pPr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US" sz="1600" b="1" dirty="0" smtClean="0">
                  <a:solidFill>
                    <a:schemeClr val="bg1">
                      <a:lumMod val="65000"/>
                    </a:schemeClr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Performance</a:t>
              </a:r>
            </a:p>
            <a:p>
              <a:pPr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US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generateThreshVsPerfData</a:t>
              </a:r>
              <a:r>
                <a:rPr lang="en-US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(</a:t>
              </a:r>
              <a:r>
                <a:rPr lang="en-US" sz="800" dirty="0" err="1" smtClean="0">
                  <a:solidFill>
                    <a:schemeClr val="tx1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obj</a:t>
              </a:r>
              <a:r>
                <a:rPr lang="en-US" sz="800" dirty="0" smtClean="0">
                  <a:solidFill>
                    <a:schemeClr val="tx1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=</a:t>
              </a:r>
              <a:r>
                <a:rPr lang="en-US" sz="800" dirty="0" smtClean="0">
                  <a:solidFill>
                    <a:schemeClr val="bg1">
                      <a:lumMod val="65000"/>
                    </a:schemeClr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,measures=</a:t>
              </a:r>
              <a:r>
                <a:rPr lang="en-US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)</a:t>
              </a:r>
              <a:r>
                <a:rPr lang="en-US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 Measure performance at different probability cutoffs to determine optimal decision threshold for binary classification problems</a:t>
              </a:r>
              <a:endParaRPr lang="en-US" sz="800" dirty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endParaRPr>
            </a:p>
            <a:p>
              <a:pPr marL="798513" indent="-114300" algn="l">
                <a:buClr>
                  <a:srgbClr val="1D4BA8"/>
                </a:buClr>
                <a:buFont typeface="Arial" panose="020B0604020202020204" pitchFamily="34" charset="0"/>
                <a:buChar char="•"/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US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plotThreshVsPerf</a:t>
              </a:r>
              <a:r>
                <a:rPr lang="en-US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(</a:t>
              </a:r>
              <a:r>
                <a:rPr lang="en-US" sz="800" dirty="0" err="1" smtClean="0">
                  <a:solidFill>
                    <a:schemeClr val="tx1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obj</a:t>
              </a:r>
              <a:r>
                <a:rPr lang="en-US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)</a:t>
              </a:r>
              <a:r>
                <a:rPr lang="en-US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 Plot visual representation of threshold curve(s) from </a:t>
              </a:r>
              <a:r>
                <a:rPr lang="en-US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ThreshVsPerfData</a:t>
              </a:r>
              <a:endParaRPr lang="en-US" sz="800" dirty="0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endParaRPr>
            </a:p>
            <a:p>
              <a:pPr marL="798513" indent="-114300" algn="l">
                <a:buClr>
                  <a:srgbClr val="1D4BA8"/>
                </a:buClr>
                <a:buFont typeface="Arial" panose="020B0604020202020204" pitchFamily="34" charset="0"/>
                <a:buChar char="•"/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US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plotROCCurves</a:t>
              </a:r>
              <a:r>
                <a:rPr lang="en-US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(</a:t>
              </a:r>
              <a:r>
                <a:rPr lang="en-US" sz="800" dirty="0" err="1" smtClean="0">
                  <a:solidFill>
                    <a:schemeClr val="tx1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obj</a:t>
              </a:r>
              <a:r>
                <a:rPr lang="en-US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)</a:t>
              </a:r>
              <a:r>
                <a:rPr lang="en-US" sz="800" dirty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 </a:t>
              </a:r>
              <a:r>
                <a:rPr lang="en-US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Plot receiver operating characteristic (ROC) curve from </a:t>
              </a:r>
              <a:r>
                <a:rPr lang="en-US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ThreshVsPerfData</a:t>
              </a:r>
              <a:r>
                <a:rPr lang="en-US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. Must set </a:t>
              </a:r>
              <a:r>
                <a:rPr lang="en-US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measures=list(</a:t>
              </a:r>
              <a:r>
                <a:rPr lang="en-US" sz="800" dirty="0" err="1" smtClean="0">
                  <a:solidFill>
                    <a:schemeClr val="tx1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fpr,tpr</a:t>
              </a:r>
              <a:r>
                <a:rPr lang="en-US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)</a:t>
              </a:r>
            </a:p>
            <a:p>
              <a:pPr marL="974725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endParaRPr lang="en-US" sz="800" dirty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endParaRPr>
            </a:p>
            <a:p>
              <a:pPr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US" sz="1600" b="1" dirty="0" smtClean="0">
                  <a:solidFill>
                    <a:schemeClr val="bg1">
                      <a:lumMod val="65000"/>
                    </a:schemeClr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Residuals</a:t>
              </a:r>
              <a:endParaRPr lang="en-US" sz="1600" b="1" dirty="0">
                <a:solidFill>
                  <a:schemeClr val="bg1">
                    <a:lumMod val="65000"/>
                  </a:schemeClr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endParaRPr>
            </a:p>
            <a:p>
              <a:pPr marL="798513" indent="-114300" algn="l">
                <a:buClr>
                  <a:srgbClr val="1D4BA8"/>
                </a:buClr>
                <a:buFont typeface="Arial" panose="020B0604020202020204" pitchFamily="34" charset="0"/>
                <a:buChar char="•"/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US" sz="800" dirty="0" err="1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plotResiduals</a:t>
              </a:r>
              <a:r>
                <a:rPr lang="en-US" sz="800" dirty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(</a:t>
              </a:r>
              <a:r>
                <a:rPr lang="en-US" sz="800" dirty="0" err="1">
                  <a:solidFill>
                    <a:schemeClr val="tx1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obj</a:t>
              </a:r>
              <a:r>
                <a:rPr lang="en-US" sz="800" dirty="0">
                  <a:solidFill>
                    <a:schemeClr val="tx1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=</a:t>
              </a:r>
              <a:r>
                <a:rPr lang="en-US" sz="800" dirty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)</a:t>
              </a:r>
              <a:r>
                <a:rPr lang="en-US" sz="800" dirty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 </a:t>
              </a:r>
              <a:r>
                <a:rPr lang="en-US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Plots residuals for </a:t>
              </a:r>
              <a:r>
                <a:rPr lang="en-US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Prediction</a:t>
              </a:r>
              <a:r>
                <a:rPr lang="en-US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 or </a:t>
              </a:r>
              <a:r>
                <a:rPr lang="en-US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BenchmarkResult</a:t>
              </a:r>
              <a:endParaRPr lang="en-US" sz="800" dirty="0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endParaRPr>
            </a:p>
            <a:p>
              <a:pPr marL="974725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endParaRPr lang="en-US" sz="800" dirty="0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endParaRPr>
            </a:p>
            <a:p>
              <a:pPr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US" sz="1600" b="1" dirty="0" smtClean="0">
                  <a:solidFill>
                    <a:schemeClr val="bg1">
                      <a:lumMod val="65000"/>
                    </a:schemeClr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Learning curve</a:t>
              </a:r>
              <a:endParaRPr lang="en-US" sz="1600" b="1" dirty="0">
                <a:solidFill>
                  <a:schemeClr val="bg1">
                    <a:lumMod val="65000"/>
                  </a:schemeClr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endParaRPr>
            </a:p>
            <a:p>
              <a:pPr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US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generateLearningCurveData</a:t>
              </a:r>
              <a:r>
                <a:rPr lang="en-US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(</a:t>
              </a:r>
              <a:r>
                <a:rPr lang="en-US" sz="800" dirty="0" smtClean="0">
                  <a:solidFill>
                    <a:schemeClr val="tx1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learners=,task=,</a:t>
              </a:r>
            </a:p>
            <a:p>
              <a:pPr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US" sz="800" dirty="0" smtClean="0">
                  <a:solidFill>
                    <a:schemeClr val="bg1">
                      <a:lumMod val="50000"/>
                    </a:schemeClr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resampling=</a:t>
              </a:r>
              <a:r>
                <a:rPr lang="en-US" sz="800" dirty="0" smtClean="0">
                  <a:solidFill>
                    <a:schemeClr val="tx1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,</a:t>
              </a:r>
              <a:r>
                <a:rPr lang="en-US" sz="800" dirty="0" err="1" smtClean="0">
                  <a:solidFill>
                    <a:schemeClr val="bg1">
                      <a:lumMod val="50000"/>
                    </a:schemeClr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percs</a:t>
              </a:r>
              <a:r>
                <a:rPr lang="en-US" sz="800" dirty="0" smtClean="0">
                  <a:solidFill>
                    <a:schemeClr val="bg1">
                      <a:lumMod val="50000"/>
                    </a:schemeClr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=</a:t>
              </a:r>
              <a:r>
                <a:rPr lang="en-US" sz="800" dirty="0" smtClean="0">
                  <a:solidFill>
                    <a:schemeClr val="tx1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,</a:t>
              </a:r>
              <a:r>
                <a:rPr lang="en-US" sz="800" dirty="0" smtClean="0">
                  <a:solidFill>
                    <a:schemeClr val="bg1">
                      <a:lumMod val="50000"/>
                    </a:schemeClr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measures=</a:t>
              </a:r>
              <a:r>
                <a:rPr lang="en-US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)</a:t>
              </a:r>
              <a:r>
                <a:rPr lang="en-US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 Measure performance of learner(s) trained on different percentages of task data</a:t>
              </a:r>
              <a:endParaRPr lang="en-US" sz="800" dirty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endParaRPr>
            </a:p>
            <a:p>
              <a:pPr marL="798513" indent="-114300" algn="l">
                <a:buClr>
                  <a:srgbClr val="1D4BA8"/>
                </a:buClr>
                <a:buFont typeface="Arial" panose="020B0604020202020204" pitchFamily="34" charset="0"/>
                <a:buChar char="•"/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US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plotLearningCurve</a:t>
              </a:r>
              <a:r>
                <a:rPr lang="en-US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(</a:t>
              </a:r>
              <a:r>
                <a:rPr lang="en-US" sz="800" dirty="0" err="1" smtClean="0">
                  <a:solidFill>
                    <a:schemeClr val="tx1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obj</a:t>
              </a:r>
              <a:r>
                <a:rPr lang="en-US" sz="800" dirty="0" smtClean="0">
                  <a:solidFill>
                    <a:schemeClr val="tx1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=</a:t>
              </a:r>
              <a:r>
                <a:rPr lang="en-US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)</a:t>
              </a:r>
              <a:r>
                <a:rPr lang="en-US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 Plot curve showing learner performance vs. proportion of data used, uses </a:t>
              </a:r>
              <a:r>
                <a:rPr lang="en-US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LearningCurveData</a:t>
              </a:r>
              <a:endParaRPr lang="en-US" sz="800" dirty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endParaRPr>
            </a:p>
            <a:p>
              <a:pPr marL="974725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endParaRPr lang="en-US" sz="800" b="1" dirty="0" smtClean="0">
                <a:solidFill>
                  <a:schemeClr val="bg1">
                    <a:lumMod val="65000"/>
                  </a:schemeClr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endParaRPr>
            </a:p>
            <a:p>
              <a:pPr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US" sz="1600" b="1" dirty="0" smtClean="0">
                  <a:solidFill>
                    <a:schemeClr val="bg1">
                      <a:lumMod val="65000"/>
                    </a:schemeClr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Feature importance</a:t>
              </a:r>
            </a:p>
            <a:p>
              <a:pPr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US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generateFilterValuesData</a:t>
              </a:r>
              <a:r>
                <a:rPr lang="en-US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(</a:t>
              </a:r>
              <a:r>
                <a:rPr lang="en-US" sz="800" dirty="0" smtClean="0">
                  <a:solidFill>
                    <a:schemeClr val="tx1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task=,</a:t>
              </a:r>
              <a:r>
                <a:rPr lang="en-US" sz="800" dirty="0" smtClean="0">
                  <a:solidFill>
                    <a:schemeClr val="bg1">
                      <a:lumMod val="50000"/>
                    </a:schemeClr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method=</a:t>
              </a:r>
              <a:r>
                <a:rPr lang="en-US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)</a:t>
              </a:r>
              <a:r>
                <a:rPr lang="en-US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 Get feature importance rankings using specified filter method</a:t>
              </a:r>
            </a:p>
            <a:p>
              <a:pPr marL="798513" indent="-114300" algn="l">
                <a:buClr>
                  <a:srgbClr val="1D4BA8"/>
                </a:buClr>
                <a:buFont typeface="Arial" panose="020B0604020202020204" pitchFamily="34" charset="0"/>
                <a:buChar char="•"/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US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plotFilterValues</a:t>
              </a:r>
              <a:r>
                <a:rPr lang="en-US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(</a:t>
              </a:r>
              <a:r>
                <a:rPr lang="en-US" sz="800" dirty="0" err="1" smtClean="0">
                  <a:solidFill>
                    <a:schemeClr val="tx1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obj</a:t>
              </a:r>
              <a:r>
                <a:rPr lang="en-US" sz="800" dirty="0" smtClean="0">
                  <a:solidFill>
                    <a:schemeClr val="tx1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=</a:t>
              </a:r>
              <a:r>
                <a:rPr lang="en-US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)</a:t>
              </a:r>
              <a:r>
                <a:rPr lang="en-US" sz="800" dirty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 </a:t>
              </a:r>
              <a:r>
                <a:rPr lang="en-US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Plot bar chart of feature importance based on filter method using </a:t>
              </a:r>
              <a:r>
                <a:rPr lang="en-US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FilterValuesData</a:t>
              </a:r>
              <a:endParaRPr lang="en-US" sz="800" dirty="0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endParaRPr>
            </a:p>
            <a:p>
              <a:pPr lvl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endParaRPr lang="en-GB" sz="800" dirty="0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endParaRPr>
            </a:p>
            <a:p>
              <a:pPr lvl="0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1600" b="1" dirty="0" err="1" smtClean="0">
                  <a:solidFill>
                    <a:schemeClr val="bg1">
                      <a:lumMod val="65000"/>
                    </a:schemeClr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Hyperparameter</a:t>
              </a:r>
              <a:r>
                <a:rPr lang="en-GB" sz="1600" b="1" dirty="0" smtClean="0">
                  <a:solidFill>
                    <a:schemeClr val="bg1">
                      <a:lumMod val="65000"/>
                    </a:schemeClr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 tuning</a:t>
              </a:r>
            </a:p>
            <a:p>
              <a:pPr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generateHyperParsEffectData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(</a:t>
              </a:r>
              <a:r>
                <a:rPr lang="en-GB" sz="800" dirty="0" err="1" smtClean="0">
                  <a:solidFill>
                    <a:schemeClr val="tx1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tune.result</a:t>
              </a:r>
              <a:r>
                <a:rPr lang="en-GB" sz="800" dirty="0" smtClean="0">
                  <a:solidFill>
                    <a:schemeClr val="tx1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=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)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 Get the impact of different </a:t>
              </a:r>
              <a:r>
                <a:rPr lang="en-GB" sz="800" dirty="0" err="1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hyperparameter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 settings on model performance</a:t>
              </a:r>
            </a:p>
            <a:p>
              <a:pPr marL="798513" indent="-114300" algn="l">
                <a:buClr>
                  <a:srgbClr val="1D4BA8"/>
                </a:buClr>
                <a:buFont typeface="Arial" panose="020B0604020202020204" pitchFamily="34" charset="0"/>
                <a:buChar char="•"/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plotHyperParsEffect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(</a:t>
              </a:r>
              <a:r>
                <a:rPr lang="en-GB" sz="800" dirty="0" err="1" smtClean="0">
                  <a:solidFill>
                    <a:schemeClr val="tx1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hyperpars.effect.data</a:t>
              </a:r>
              <a:r>
                <a:rPr lang="en-GB" sz="800" dirty="0" smtClean="0">
                  <a:solidFill>
                    <a:schemeClr val="tx1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=,x=,y=,z=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)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 Create a plot showing </a:t>
              </a:r>
              <a:r>
                <a:rPr lang="en-GB" sz="800" dirty="0" err="1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hyperparameter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 impact on performance using </a:t>
              </a: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HyperParsEffectData</a:t>
              </a:r>
              <a:endParaRPr lang="en-GB" sz="800" dirty="0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endParaRPr>
            </a:p>
            <a:p>
              <a:pPr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See also:</a:t>
              </a:r>
            </a:p>
            <a:p>
              <a:pPr marL="112713" indent="-112713" algn="l">
                <a:buClr>
                  <a:srgbClr val="1D4BA8"/>
                </a:buClr>
                <a:buFont typeface="Arial" panose="020B0604020202020204" pitchFamily="34" charset="0"/>
                <a:buChar char="•"/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plotOptPath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(</a:t>
              </a:r>
              <a:r>
                <a:rPr lang="en-GB" sz="800" dirty="0" smtClean="0">
                  <a:solidFill>
                    <a:schemeClr val="tx1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op=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)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 Display details of optimization process. Takes 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&lt;</a:t>
              </a: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obj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&gt;$</a:t>
              </a: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opt.path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, where 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&lt;</a:t>
              </a: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obj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&gt;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 is an object of class </a:t>
              </a: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tuneResult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 or </a:t>
              </a: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featSelResult</a:t>
              </a:r>
              <a:endParaRPr lang="en-GB" sz="800" dirty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endParaRPr>
            </a:p>
            <a:p>
              <a:pPr marL="112713" indent="-112713" algn="l">
                <a:buClr>
                  <a:srgbClr val="1D4BA8"/>
                </a:buClr>
                <a:buFont typeface="Arial" panose="020B0604020202020204" pitchFamily="34" charset="0"/>
                <a:buChar char="•"/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plotTuneMultiCritResult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(</a:t>
              </a:r>
              <a:r>
                <a:rPr lang="en-GB" sz="800" dirty="0" smtClean="0">
                  <a:solidFill>
                    <a:schemeClr val="tx1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res=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)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 Show </a:t>
              </a:r>
              <a:r>
                <a:rPr lang="en-GB" sz="800" dirty="0" err="1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pareto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 front for results of tuning to multiple performance measures</a:t>
              </a:r>
            </a:p>
            <a:p>
              <a:pPr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 </a:t>
              </a:r>
              <a:endParaRPr lang="en-GB" sz="1600" dirty="0" smtClean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endParaRPr>
            </a:p>
            <a:p>
              <a:pPr lvl="0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1600" b="1" dirty="0" smtClean="0">
                  <a:solidFill>
                    <a:schemeClr val="bg1">
                      <a:lumMod val="65000"/>
                    </a:schemeClr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Partial dependence</a:t>
              </a:r>
            </a:p>
            <a:p>
              <a:pPr lvl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generatePartialDependenceData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(</a:t>
              </a:r>
              <a:r>
                <a:rPr lang="en-GB" sz="800" dirty="0" err="1" smtClean="0">
                  <a:solidFill>
                    <a:schemeClr val="tx1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obj</a:t>
              </a:r>
              <a:r>
                <a:rPr lang="en-GB" sz="800" dirty="0" smtClean="0">
                  <a:solidFill>
                    <a:schemeClr val="tx1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=,input=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)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 Get partial dependence of model (</a:t>
              </a: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obj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) prediction over each feature of data (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input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)</a:t>
              </a:r>
            </a:p>
            <a:p>
              <a:pPr marL="798513" lvl="0" indent="-114300" algn="l">
                <a:buClr>
                  <a:srgbClr val="1D4BA8"/>
                </a:buClr>
                <a:buFont typeface="Arial" panose="020B0604020202020204" pitchFamily="34" charset="0"/>
                <a:buChar char="•"/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plotPartialDependence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(</a:t>
              </a:r>
              <a:r>
                <a:rPr lang="en-GB" sz="800" dirty="0" err="1" smtClean="0">
                  <a:solidFill>
                    <a:schemeClr val="tx1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obj</a:t>
              </a:r>
              <a:r>
                <a:rPr lang="en-GB" sz="800" dirty="0" smtClean="0">
                  <a:solidFill>
                    <a:schemeClr val="tx1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=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)</a:t>
              </a:r>
              <a:r>
                <a:rPr lang="en-GB" sz="800" dirty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 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Plots partial dependence of model using </a:t>
              </a: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PartialDependenceData</a:t>
              </a:r>
              <a:endParaRPr lang="en-GB" sz="800" dirty="0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endParaRPr>
            </a:p>
            <a:p>
              <a:pPr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endParaRPr lang="en-GB" sz="800" b="1" dirty="0" smtClean="0">
                <a:solidFill>
                  <a:schemeClr val="bg1">
                    <a:lumMod val="65000"/>
                  </a:schemeClr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endParaRPr>
            </a:p>
            <a:p>
              <a:pPr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1600" b="1" dirty="0" smtClean="0">
                  <a:solidFill>
                    <a:schemeClr val="bg1">
                      <a:lumMod val="65000"/>
                    </a:schemeClr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Benchmarking</a:t>
              </a:r>
              <a:endParaRPr lang="en-GB" sz="1600" dirty="0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endParaRPr>
            </a:p>
            <a:p>
              <a:pPr marL="112713" indent="-112713" algn="l">
                <a:buClr>
                  <a:srgbClr val="1D4BA8"/>
                </a:buClr>
                <a:buFont typeface="Arial" panose="020B0604020202020204" pitchFamily="34" charset="0"/>
                <a:buChar char="•"/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plotBMRBoxplots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(</a:t>
              </a:r>
              <a:r>
                <a:rPr lang="en-GB" sz="800" dirty="0" err="1" smtClean="0">
                  <a:solidFill>
                    <a:schemeClr val="tx1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bmr</a:t>
              </a:r>
              <a:r>
                <a:rPr lang="en-GB" sz="800" dirty="0" smtClean="0">
                  <a:solidFill>
                    <a:schemeClr val="tx1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=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)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 Distribution of performances</a:t>
              </a:r>
              <a:endParaRPr lang="en-GB" sz="800" dirty="0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endParaRPr>
            </a:p>
            <a:p>
              <a:pPr marL="112713" indent="-112713" algn="l">
                <a:buClr>
                  <a:srgbClr val="1D4BA8"/>
                </a:buClr>
                <a:buFont typeface="Arial" panose="020B0604020202020204" pitchFamily="34" charset="0"/>
                <a:buChar char="•"/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plotBMRSummary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(</a:t>
              </a:r>
              <a:r>
                <a:rPr lang="en-GB" sz="800" dirty="0" err="1" smtClean="0">
                  <a:solidFill>
                    <a:schemeClr val="tx1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bmr</a:t>
              </a:r>
              <a:r>
                <a:rPr lang="en-GB" sz="800" dirty="0" smtClean="0">
                  <a:solidFill>
                    <a:schemeClr val="tx1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=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)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 Scatterplot of avg. performances</a:t>
              </a:r>
              <a:endParaRPr lang="en-GB" sz="800" dirty="0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endParaRPr>
            </a:p>
            <a:p>
              <a:pPr marL="112713" indent="-112713" algn="l">
                <a:buClr>
                  <a:srgbClr val="1D4BA8"/>
                </a:buClr>
                <a:buFont typeface="Arial" panose="020B0604020202020204" pitchFamily="34" charset="0"/>
                <a:buChar char="•"/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plotBMRRanksAsBarChart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(</a:t>
              </a:r>
              <a:r>
                <a:rPr lang="en-GB" sz="800" dirty="0" err="1" smtClean="0">
                  <a:solidFill>
                    <a:schemeClr val="tx1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bmr</a:t>
              </a:r>
              <a:r>
                <a:rPr lang="en-GB" sz="800" dirty="0" smtClean="0">
                  <a:solidFill>
                    <a:schemeClr val="tx1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=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)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 Rank learners in bar plot</a:t>
              </a:r>
            </a:p>
            <a:p>
              <a:pPr marL="971550" lvl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endParaRPr lang="en-GB" sz="800" dirty="0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endParaRPr>
            </a:p>
            <a:p>
              <a:pPr lvl="0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1600" b="1" dirty="0" smtClean="0">
                  <a:solidFill>
                    <a:schemeClr val="bg1">
                      <a:lumMod val="65000"/>
                    </a:schemeClr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Other</a:t>
              </a:r>
            </a:p>
            <a:p>
              <a:pPr marL="798513" indent="-114300" algn="l">
                <a:buClr>
                  <a:srgbClr val="1D4BA8"/>
                </a:buClr>
                <a:buFont typeface="Arial" panose="020B0604020202020204" pitchFamily="34" charset="0"/>
                <a:buChar char="•"/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generateCritDifferencesData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(</a:t>
              </a:r>
              <a:r>
                <a:rPr lang="en-GB" sz="800" dirty="0" err="1" smtClean="0">
                  <a:solidFill>
                    <a:schemeClr val="tx1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bmr</a:t>
              </a:r>
              <a:r>
                <a:rPr lang="en-GB" sz="800" dirty="0" smtClean="0">
                  <a:solidFill>
                    <a:schemeClr val="tx1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=,</a:t>
              </a:r>
              <a:br>
                <a:rPr lang="en-GB" sz="800" dirty="0" smtClean="0">
                  <a:solidFill>
                    <a:schemeClr val="tx1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</a:br>
              <a:r>
                <a:rPr lang="en-GB" sz="800" dirty="0" smtClean="0">
                  <a:solidFill>
                    <a:schemeClr val="bg1">
                      <a:lumMod val="50000"/>
                    </a:schemeClr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measure=</a:t>
              </a:r>
              <a:r>
                <a:rPr lang="en-GB" sz="800" dirty="0" smtClean="0">
                  <a:solidFill>
                    <a:schemeClr val="tx1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,</a:t>
              </a:r>
              <a:r>
                <a:rPr lang="en-GB" sz="800" dirty="0" err="1" smtClean="0">
                  <a:solidFill>
                    <a:schemeClr val="bg1">
                      <a:lumMod val="50000"/>
                    </a:schemeClr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p.value</a:t>
              </a:r>
              <a:r>
                <a:rPr lang="en-GB" sz="800" dirty="0" smtClean="0">
                  <a:solidFill>
                    <a:schemeClr val="bg1">
                      <a:lumMod val="50000"/>
                    </a:schemeClr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=</a:t>
              </a:r>
              <a:r>
                <a:rPr lang="en-GB" sz="800" dirty="0" smtClean="0">
                  <a:solidFill>
                    <a:schemeClr val="tx1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,</a:t>
              </a:r>
              <a:r>
                <a:rPr lang="en-GB" sz="800" dirty="0" smtClean="0">
                  <a:solidFill>
                    <a:schemeClr val="bg1">
                      <a:lumMod val="50000"/>
                    </a:schemeClr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test=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)</a:t>
              </a:r>
              <a:r>
                <a:rPr lang="en-GB" sz="800" dirty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 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Perform critical-differences test using either the </a:t>
              </a:r>
              <a:r>
                <a:rPr lang="en-GB" sz="800" dirty="0" err="1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Bonferroni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-Dunn (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"</a:t>
              </a: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bd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"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) or 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"</a:t>
              </a: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Nemenyi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"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 test</a:t>
              </a:r>
              <a:endParaRPr lang="en-GB" sz="800" dirty="0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endParaRPr>
            </a:p>
            <a:p>
              <a:pPr marL="798513" indent="-114300" algn="l">
                <a:buClr>
                  <a:srgbClr val="1D4BA8"/>
                </a:buClr>
                <a:buFont typeface="Arial" panose="020B0604020202020204" pitchFamily="34" charset="0"/>
                <a:buChar char="•"/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plotCritDifferences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(</a:t>
              </a:r>
              <a:r>
                <a:rPr lang="en-GB" sz="800" dirty="0" err="1" smtClean="0">
                  <a:solidFill>
                    <a:schemeClr val="tx1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obj</a:t>
              </a:r>
              <a:r>
                <a:rPr lang="en-GB" sz="800" dirty="0" smtClean="0">
                  <a:solidFill>
                    <a:schemeClr val="tx1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=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)</a:t>
              </a:r>
            </a:p>
            <a:p>
              <a:pPr marL="684213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endParaRPr lang="en-GB" sz="800" dirty="0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endParaRPr>
            </a:p>
            <a:p>
              <a:pPr marL="798513" indent="-114300" algn="l">
                <a:buClr>
                  <a:srgbClr val="1D4BA8"/>
                </a:buClr>
                <a:buFont typeface="Arial" panose="020B0604020202020204" pitchFamily="34" charset="0"/>
                <a:buChar char="•"/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generateCalibrationData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(</a:t>
              </a:r>
              <a:r>
                <a:rPr lang="en-GB" sz="800" dirty="0" err="1" smtClean="0">
                  <a:solidFill>
                    <a:schemeClr val="tx1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obj</a:t>
              </a:r>
              <a:r>
                <a:rPr lang="en-GB" sz="800" dirty="0" smtClean="0">
                  <a:solidFill>
                    <a:schemeClr val="tx1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=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)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 Evaluate calibration of probability predictions vs. true incidence</a:t>
              </a:r>
              <a:endParaRPr lang="en-GB" sz="800" dirty="0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endParaRPr>
            </a:p>
            <a:p>
              <a:pPr marL="798513" indent="-114300" algn="l">
                <a:buClr>
                  <a:srgbClr val="1D4BA8"/>
                </a:buClr>
                <a:buFont typeface="Arial" panose="020B0604020202020204" pitchFamily="34" charset="0"/>
                <a:buChar char="•"/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plotCalibration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(</a:t>
              </a:r>
              <a:r>
                <a:rPr lang="en-GB" sz="800" dirty="0" err="1" smtClean="0">
                  <a:solidFill>
                    <a:schemeClr val="tx1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obj</a:t>
              </a:r>
              <a:r>
                <a:rPr lang="en-GB" sz="800" dirty="0" smtClean="0">
                  <a:solidFill>
                    <a:schemeClr val="tx1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=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)</a:t>
              </a:r>
            </a:p>
            <a:p>
              <a:pPr marL="684213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endParaRPr lang="en-GB" sz="800" dirty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endParaRPr>
            </a:p>
          </p:txBody>
        </p:sp>
      </p:grpSp>
      <p:grpSp>
        <p:nvGrpSpPr>
          <p:cNvPr id="3" name="Gruppieren 16"/>
          <p:cNvGrpSpPr/>
          <p:nvPr/>
        </p:nvGrpSpPr>
        <p:grpSpPr>
          <a:xfrm>
            <a:off x="3664695" y="306159"/>
            <a:ext cx="3263902" cy="7475448"/>
            <a:chOff x="3668244" y="825104"/>
            <a:chExt cx="3263902" cy="9590207"/>
          </a:xfrm>
          <a:solidFill>
            <a:schemeClr val="bg1"/>
          </a:solidFill>
        </p:grpSpPr>
        <p:sp>
          <p:nvSpPr>
            <p:cNvPr id="4" name="Rechteck 71"/>
            <p:cNvSpPr/>
            <p:nvPr/>
          </p:nvSpPr>
          <p:spPr>
            <a:xfrm>
              <a:off x="3668244" y="825104"/>
              <a:ext cx="3263902" cy="959020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no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de-DE" sz="260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sym typeface="Helvetica Light"/>
              </a:endParaRPr>
            </a:p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lang="de-DE" sz="2600" dirty="0">
                <a:solidFill>
                  <a:schemeClr val="tx1"/>
                </a:solidFill>
              </a:endParaRPr>
            </a:p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de-DE" sz="260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sym typeface="Helvetica Light"/>
              </a:endParaRPr>
            </a:p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lang="de-DE" sz="2600" dirty="0">
                <a:solidFill>
                  <a:schemeClr val="tx1"/>
                </a:solidFill>
              </a:endParaRPr>
            </a:p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de-DE" sz="260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sym typeface="Helvetica Light"/>
              </a:endParaRPr>
            </a:p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lang="de-DE" sz="2600" dirty="0">
                <a:solidFill>
                  <a:schemeClr val="tx1"/>
                </a:solidFill>
              </a:endParaRPr>
            </a:p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de-DE" sz="260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sym typeface="Helvetica Light"/>
              </a:endParaRPr>
            </a:p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lang="de-DE" sz="2600" dirty="0">
                <a:solidFill>
                  <a:schemeClr val="tx1"/>
                </a:solidFill>
              </a:endParaRPr>
            </a:p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de-DE" sz="260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sym typeface="Helvetica Light"/>
              </a:endParaRPr>
            </a:p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lang="de-DE" sz="2600" dirty="0">
                <a:solidFill>
                  <a:schemeClr val="tx1"/>
                </a:solidFill>
              </a:endParaRPr>
            </a:p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de-DE" sz="260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sym typeface="Helvetica Light"/>
              </a:endParaRPr>
            </a:p>
          </p:txBody>
        </p:sp>
        <p:sp>
          <p:nvSpPr>
            <p:cNvPr id="6" name="Abgerundetes Rechteck 73"/>
            <p:cNvSpPr/>
            <p:nvPr/>
          </p:nvSpPr>
          <p:spPr>
            <a:xfrm>
              <a:off x="3809898" y="1338700"/>
              <a:ext cx="2960914" cy="8891116"/>
            </a:xfrm>
            <a:prstGeom prst="roundRect">
              <a:avLst>
                <a:gd name="adj" fmla="val 4902"/>
              </a:avLst>
            </a:prstGeom>
            <a:grp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4570" tIns="0" rIns="54570" bIns="0" numCol="1" spcCol="38100" rtlCol="0" anchor="t">
              <a:noAutofit/>
            </a:bodyPr>
            <a:lstStyle/>
            <a:p>
              <a:pPr lvl="0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1600" b="1" dirty="0" smtClean="0">
                  <a:solidFill>
                    <a:schemeClr val="bg1">
                      <a:lumMod val="65000"/>
                    </a:schemeClr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Feature filtering</a:t>
              </a:r>
              <a:endParaRPr lang="en-GB" sz="1000" b="1" dirty="0" smtClean="0">
                <a:solidFill>
                  <a:schemeClr val="bg1">
                    <a:lumMod val="65000"/>
                  </a:schemeClr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endParaRPr>
            </a:p>
            <a:p>
              <a:pPr marL="971550" lvl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filterFeatures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(</a:t>
              </a:r>
              <a:r>
                <a:rPr lang="en-GB" sz="800" dirty="0" smtClean="0">
                  <a:solidFill>
                    <a:schemeClr val="tx1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task=,</a:t>
              </a:r>
              <a:r>
                <a:rPr lang="en-GB" sz="800" dirty="0" smtClean="0">
                  <a:solidFill>
                    <a:schemeClr val="bg1">
                      <a:lumMod val="50000"/>
                    </a:schemeClr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method=</a:t>
              </a:r>
              <a:r>
                <a:rPr lang="en-GB" sz="800" dirty="0" smtClean="0">
                  <a:solidFill>
                    <a:schemeClr val="tx1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,</a:t>
              </a:r>
            </a:p>
            <a:p>
              <a:pPr marL="971550" lvl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err="1" smtClean="0">
                  <a:solidFill>
                    <a:schemeClr val="tx1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perc</a:t>
              </a:r>
              <a:r>
                <a:rPr lang="en-GB" sz="800" dirty="0" smtClean="0">
                  <a:solidFill>
                    <a:schemeClr val="tx1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=,abs=,threshold=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)</a:t>
              </a:r>
            </a:p>
            <a:p>
              <a:pPr marL="971550" lvl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Uses a learner-agnostic feature evaluation method to rank feature importance, then includes only features in the top n percent (</a:t>
              </a: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perc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=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), top n (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abs=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), or which meet a set performance threshold (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threshold=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).</a:t>
              </a:r>
            </a:p>
            <a:p>
              <a:pPr lvl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endParaRPr lang="en-GB" sz="800" dirty="0" smtClean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endParaRPr>
            </a:p>
            <a:p>
              <a:pPr lvl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Outputs a task with features that failed the test omitted. 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method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 defaults to 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"</a:t>
              </a: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randomForestSRC.rfsrc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"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, but can be set to: 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"</a:t>
              </a: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anova.test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" "</a:t>
              </a: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carscore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" "</a:t>
              </a: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cforest.importance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" "</a:t>
              </a: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chi.squared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" "</a:t>
              </a: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gain.ratio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" "</a:t>
              </a: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information.gain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" "</a:t>
              </a: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kruskal.test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" "</a:t>
              </a: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linear.correlation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" "</a:t>
              </a: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mrmr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" "</a:t>
              </a: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oneR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" </a:t>
              </a:r>
              <a:r>
                <a:rPr lang="en-GB" sz="800" spc="-2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"</a:t>
              </a:r>
              <a:r>
                <a:rPr lang="en-GB" sz="800" spc="-2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permutation.importance</a:t>
              </a:r>
              <a:r>
                <a:rPr lang="en-GB" sz="800" spc="-2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" "</a:t>
              </a:r>
              <a:r>
                <a:rPr lang="en-GB" sz="800" spc="-2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randomForest.importance</a:t>
              </a:r>
              <a:r>
                <a:rPr lang="en-GB" sz="800" spc="-2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"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 </a:t>
              </a:r>
              <a:r>
                <a:rPr lang="en-GB" sz="800" spc="-2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"</a:t>
              </a:r>
              <a:r>
                <a:rPr lang="en-GB" sz="800" spc="-2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randomForestSRC.rfsrc</a:t>
              </a:r>
              <a:r>
                <a:rPr lang="en-GB" sz="800" spc="-2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" "</a:t>
              </a:r>
              <a:r>
                <a:rPr lang="en-GB" sz="800" spc="-2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randomForestSRC.var.select</a:t>
              </a:r>
              <a:r>
                <a:rPr lang="en-GB" sz="800" spc="-2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"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 </a:t>
              </a:r>
              <a:r>
                <a:rPr lang="en-GB" sz="800" spc="-2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"</a:t>
              </a:r>
              <a:r>
                <a:rPr lang="en-GB" sz="800" spc="-2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rank.correlation</a:t>
              </a:r>
              <a:r>
                <a:rPr lang="en-GB" sz="800" spc="-2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" "relief" "</a:t>
              </a:r>
              <a:r>
                <a:rPr lang="en-GB" sz="800" spc="-2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symmetrical.uncertainty</a:t>
              </a:r>
              <a:r>
                <a:rPr lang="en-GB" sz="800" spc="-2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"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 "</a:t>
              </a: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univariate.model.score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" </a:t>
              </a:r>
              <a:b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</a:b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"variance"</a:t>
              </a:r>
            </a:p>
            <a:p>
              <a:pPr lvl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endParaRPr lang="en-GB" sz="800" b="1" dirty="0">
                <a:solidFill>
                  <a:schemeClr val="tx1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endParaRPr>
            </a:p>
            <a:p>
              <a:pPr lvl="0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1600" b="1" dirty="0" smtClean="0">
                  <a:solidFill>
                    <a:schemeClr val="bg1">
                      <a:lumMod val="65000"/>
                    </a:schemeClr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Feature selection</a:t>
              </a:r>
              <a:endParaRPr lang="en-GB" sz="1000" b="1" dirty="0" smtClean="0">
                <a:solidFill>
                  <a:schemeClr val="bg1">
                    <a:lumMod val="65000"/>
                  </a:schemeClr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endParaRPr>
            </a:p>
            <a:p>
              <a:pPr marL="973138" lvl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selectFeatures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(</a:t>
              </a:r>
              <a:r>
                <a:rPr lang="en-GB" sz="800" dirty="0" smtClean="0">
                  <a:solidFill>
                    <a:schemeClr val="tx1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learner=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,</a:t>
              </a:r>
              <a:r>
                <a:rPr lang="en-GB" sz="800" dirty="0" smtClean="0">
                  <a:solidFill>
                    <a:schemeClr val="tx1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task=</a:t>
              </a:r>
            </a:p>
            <a:p>
              <a:pPr marL="973138" lvl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smtClean="0">
                  <a:solidFill>
                    <a:schemeClr val="tx1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resampling=,</a:t>
              </a:r>
              <a:r>
                <a:rPr lang="en-GB" sz="800" dirty="0" smtClean="0">
                  <a:solidFill>
                    <a:schemeClr val="bg1">
                      <a:lumMod val="50000"/>
                    </a:schemeClr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measures=</a:t>
              </a:r>
              <a:r>
                <a:rPr lang="en-GB" sz="800" dirty="0" smtClean="0">
                  <a:solidFill>
                    <a:schemeClr val="tx1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,</a:t>
              </a:r>
              <a:r>
                <a:rPr lang="en-GB" sz="800" dirty="0" smtClean="0">
                  <a:solidFill>
                    <a:schemeClr val="bg1">
                      <a:lumMod val="50000"/>
                    </a:schemeClr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control=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)</a:t>
              </a:r>
            </a:p>
            <a:p>
              <a:pPr marL="973138" lvl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Uses a feature selection algorithm (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control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) to resample and build a model repeatedly using different feature sets each time in order to find the best set.</a:t>
              </a:r>
            </a:p>
            <a:p>
              <a:pPr lvl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Available controls include:</a:t>
              </a:r>
            </a:p>
            <a:p>
              <a:pPr marL="171450" lvl="0" indent="-171450" algn="l">
                <a:buClr>
                  <a:srgbClr val="1D4BA8"/>
                </a:buClr>
                <a:buFont typeface="Arial" panose="020B0604020202020204" pitchFamily="34" charset="0"/>
                <a:buChar char="•"/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makeFeatSelControlExhaustive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(</a:t>
              </a:r>
              <a:r>
                <a:rPr lang="en-GB" sz="800" dirty="0" err="1" smtClean="0">
                  <a:solidFill>
                    <a:schemeClr val="bg1">
                      <a:lumMod val="50000"/>
                    </a:schemeClr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max.features</a:t>
              </a:r>
              <a:r>
                <a:rPr lang="en-GB" sz="800" dirty="0" smtClean="0">
                  <a:solidFill>
                    <a:schemeClr val="bg1">
                      <a:lumMod val="50000"/>
                    </a:schemeClr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=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)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 Try every combination of features up to optional </a:t>
              </a: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max.features</a:t>
              </a:r>
              <a:endParaRPr lang="en-GB" sz="800" dirty="0" smtClean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endParaRPr>
            </a:p>
            <a:p>
              <a:pPr marL="171450" lvl="0" indent="-171450" algn="l">
                <a:buClr>
                  <a:srgbClr val="1D4BA8"/>
                </a:buClr>
                <a:buFont typeface="Arial" panose="020B0604020202020204" pitchFamily="34" charset="0"/>
                <a:buChar char="•"/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makeFeatSelControlRandom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(</a:t>
              </a:r>
              <a:r>
                <a:rPr lang="en-GB" sz="800" dirty="0" err="1" smtClean="0">
                  <a:solidFill>
                    <a:schemeClr val="bg1">
                      <a:lumMod val="50000"/>
                    </a:schemeClr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maxit</a:t>
              </a:r>
              <a:r>
                <a:rPr lang="en-GB" sz="800" dirty="0" smtClean="0">
                  <a:solidFill>
                    <a:schemeClr val="bg1">
                      <a:lumMod val="50000"/>
                    </a:schemeClr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=</a:t>
              </a:r>
              <a:r>
                <a:rPr lang="en-GB" sz="800" dirty="0" smtClean="0">
                  <a:solidFill>
                    <a:schemeClr val="tx1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,</a:t>
              </a:r>
              <a:r>
                <a:rPr lang="en-GB" sz="800" dirty="0" err="1" smtClean="0">
                  <a:solidFill>
                    <a:schemeClr val="bg1">
                      <a:lumMod val="50000"/>
                    </a:schemeClr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prob</a:t>
              </a:r>
              <a:r>
                <a:rPr lang="en-GB" sz="800" dirty="0" smtClean="0">
                  <a:solidFill>
                    <a:schemeClr val="bg1">
                      <a:lumMod val="50000"/>
                    </a:schemeClr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=</a:t>
              </a:r>
              <a:r>
                <a:rPr lang="en-GB" sz="800" dirty="0" smtClean="0">
                  <a:solidFill>
                    <a:schemeClr val="tx1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,</a:t>
              </a:r>
              <a:r>
                <a:rPr lang="en-GB" sz="800" dirty="0" smtClean="0">
                  <a:solidFill>
                    <a:schemeClr val="bg1">
                      <a:lumMod val="50000"/>
                    </a:schemeClr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/>
              </a:r>
              <a:br>
                <a:rPr lang="en-GB" sz="800" dirty="0" smtClean="0">
                  <a:solidFill>
                    <a:schemeClr val="bg1">
                      <a:lumMod val="50000"/>
                    </a:schemeClr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</a:br>
              <a:r>
                <a:rPr lang="en-GB" sz="800" dirty="0" err="1" smtClean="0">
                  <a:solidFill>
                    <a:schemeClr val="bg1">
                      <a:lumMod val="50000"/>
                    </a:schemeClr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max.features</a:t>
              </a:r>
              <a:r>
                <a:rPr lang="en-GB" sz="800" dirty="0" smtClean="0">
                  <a:solidFill>
                    <a:schemeClr val="bg1">
                      <a:lumMod val="50000"/>
                    </a:schemeClr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=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)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 Randomly sample features with probability </a:t>
              </a: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prob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 (default 0.5) until </a:t>
              </a: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maxit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 (default 100) iterations; return the best one found</a:t>
              </a:r>
            </a:p>
            <a:p>
              <a:pPr marL="171450" lvl="0" indent="-171450" algn="l">
                <a:buClr>
                  <a:srgbClr val="1D4BA8"/>
                </a:buClr>
                <a:buFont typeface="Arial" panose="020B0604020202020204" pitchFamily="34" charset="0"/>
                <a:buChar char="•"/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makeFeatSelControlSequential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(</a:t>
              </a:r>
              <a:r>
                <a:rPr lang="en-GB" sz="800" dirty="0" smtClean="0">
                  <a:solidFill>
                    <a:schemeClr val="tx1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method=,</a:t>
              </a:r>
              <a:r>
                <a:rPr lang="en-GB" sz="800" dirty="0" err="1" smtClean="0">
                  <a:solidFill>
                    <a:schemeClr val="bg1">
                      <a:lumMod val="50000"/>
                    </a:schemeClr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maxit</a:t>
              </a:r>
              <a:r>
                <a:rPr lang="en-GB" sz="800" dirty="0" smtClean="0">
                  <a:solidFill>
                    <a:schemeClr val="bg1">
                      <a:lumMod val="50000"/>
                    </a:schemeClr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=</a:t>
              </a:r>
              <a:r>
                <a:rPr lang="en-GB" sz="800" dirty="0" smtClean="0">
                  <a:solidFill>
                    <a:schemeClr val="tx1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,</a:t>
              </a:r>
              <a:r>
                <a:rPr lang="en-GB" sz="800" dirty="0" smtClean="0">
                  <a:solidFill>
                    <a:schemeClr val="bg1">
                      <a:lumMod val="50000"/>
                    </a:schemeClr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/>
              </a:r>
              <a:br>
                <a:rPr lang="en-GB" sz="800" dirty="0" smtClean="0">
                  <a:solidFill>
                    <a:schemeClr val="bg1">
                      <a:lumMod val="50000"/>
                    </a:schemeClr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</a:br>
              <a:r>
                <a:rPr lang="en-GB" sz="800" dirty="0" err="1" smtClean="0">
                  <a:solidFill>
                    <a:schemeClr val="bg1">
                      <a:lumMod val="50000"/>
                    </a:schemeClr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max.features</a:t>
              </a:r>
              <a:r>
                <a:rPr lang="en-GB" sz="800" dirty="0" smtClean="0">
                  <a:solidFill>
                    <a:schemeClr val="bg1">
                      <a:lumMod val="50000"/>
                    </a:schemeClr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=</a:t>
              </a:r>
              <a:r>
                <a:rPr lang="en-GB" sz="800" dirty="0" smtClean="0">
                  <a:solidFill>
                    <a:schemeClr val="tx1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,</a:t>
              </a:r>
              <a:r>
                <a:rPr lang="en-GB" sz="800" dirty="0" smtClean="0">
                  <a:solidFill>
                    <a:schemeClr val="bg1">
                      <a:lumMod val="50000"/>
                    </a:schemeClr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alpha=</a:t>
              </a:r>
              <a:r>
                <a:rPr lang="en-GB" sz="800" dirty="0" smtClean="0">
                  <a:solidFill>
                    <a:schemeClr val="tx1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,</a:t>
              </a:r>
              <a:r>
                <a:rPr lang="en-GB" sz="800" dirty="0" smtClean="0">
                  <a:solidFill>
                    <a:schemeClr val="bg1">
                      <a:lumMod val="50000"/>
                    </a:schemeClr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beta=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)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 Perform an iterative search using a 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method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 from the following: 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"</a:t>
              </a: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sfs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"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 forward search, 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"</a:t>
              </a: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sbs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"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 backward search, 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"</a:t>
              </a: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sffs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"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 floating forward search, 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"</a:t>
              </a: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sfbs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"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 floating backward search.  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alpha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 indicates minimum improvement required to add a feature; 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beta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 indicates minimum required to remove a feature</a:t>
              </a:r>
            </a:p>
            <a:p>
              <a:pPr marL="171450" lvl="0" indent="-171450" algn="l">
                <a:buClr>
                  <a:srgbClr val="1D4BA8"/>
                </a:buClr>
                <a:buFont typeface="Arial" panose="020B0604020202020204" pitchFamily="34" charset="0"/>
                <a:buChar char="•"/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makeFeatSelControlGA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(</a:t>
              </a:r>
              <a:r>
                <a:rPr lang="en-GB" sz="800" dirty="0" err="1" smtClean="0">
                  <a:solidFill>
                    <a:schemeClr val="bg1">
                      <a:lumMod val="50000"/>
                    </a:schemeClr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maxit</a:t>
              </a:r>
              <a:r>
                <a:rPr lang="en-GB" sz="800" dirty="0" smtClean="0">
                  <a:solidFill>
                    <a:schemeClr val="bg1">
                      <a:lumMod val="50000"/>
                    </a:schemeClr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=</a:t>
              </a:r>
              <a:r>
                <a:rPr lang="en-GB" sz="800" dirty="0" smtClean="0">
                  <a:solidFill>
                    <a:schemeClr val="tx1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,</a:t>
              </a:r>
              <a:r>
                <a:rPr lang="en-GB" sz="800" dirty="0" err="1" smtClean="0">
                  <a:solidFill>
                    <a:schemeClr val="bg1">
                      <a:lumMod val="50000"/>
                    </a:schemeClr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max.features</a:t>
              </a:r>
              <a:r>
                <a:rPr lang="en-GB" sz="800" dirty="0" smtClean="0">
                  <a:solidFill>
                    <a:schemeClr val="bg1">
                      <a:lumMod val="50000"/>
                    </a:schemeClr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=</a:t>
              </a:r>
              <a:r>
                <a:rPr lang="en-GB" sz="800" dirty="0" smtClean="0">
                  <a:solidFill>
                    <a:schemeClr val="tx1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,</a:t>
              </a:r>
              <a:r>
                <a:rPr lang="en-GB" sz="800" dirty="0" smtClean="0">
                  <a:solidFill>
                    <a:schemeClr val="bg1">
                      <a:lumMod val="50000"/>
                    </a:schemeClr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mu=</a:t>
              </a:r>
              <a:r>
                <a:rPr lang="en-GB" sz="800" dirty="0" smtClean="0">
                  <a:solidFill>
                    <a:schemeClr val="tx1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,</a:t>
              </a:r>
              <a:r>
                <a:rPr lang="en-GB" sz="800" dirty="0" smtClean="0">
                  <a:solidFill>
                    <a:schemeClr val="bg1">
                      <a:lumMod val="50000"/>
                    </a:schemeClr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lambda=</a:t>
              </a:r>
              <a:r>
                <a:rPr lang="en-GB" sz="800" dirty="0" smtClean="0">
                  <a:solidFill>
                    <a:schemeClr val="tx1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,</a:t>
              </a:r>
              <a:r>
                <a:rPr lang="en-GB" sz="800" dirty="0" err="1" smtClean="0">
                  <a:solidFill>
                    <a:schemeClr val="bg1">
                      <a:lumMod val="50000"/>
                    </a:schemeClr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crossover.rate</a:t>
              </a:r>
              <a:r>
                <a:rPr lang="en-GB" sz="800" dirty="0" smtClean="0">
                  <a:solidFill>
                    <a:schemeClr val="bg1">
                      <a:lumMod val="50000"/>
                    </a:schemeClr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=</a:t>
              </a:r>
              <a:r>
                <a:rPr lang="en-GB" sz="800" dirty="0" smtClean="0">
                  <a:solidFill>
                    <a:schemeClr val="tx1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,</a:t>
              </a:r>
              <a:r>
                <a:rPr lang="en-GB" sz="800" dirty="0" err="1" smtClean="0">
                  <a:solidFill>
                    <a:schemeClr val="bg1">
                      <a:lumMod val="50000"/>
                    </a:schemeClr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mutation.rate</a:t>
              </a:r>
              <a:r>
                <a:rPr lang="en-GB" sz="800" dirty="0" smtClean="0">
                  <a:solidFill>
                    <a:schemeClr val="bg1">
                      <a:lumMod val="50000"/>
                    </a:schemeClr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=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)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 Genetic algorithm trains on random feature vectors, then uses crossover on the best performers to produce ‘offspring’, repeated over generations. 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mu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 is size of parent population, 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lambda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 is size of children population, </a:t>
              </a: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crossover.rate</a:t>
              </a:r>
              <a:r>
                <a:rPr lang="en-GB" sz="800" dirty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 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is probability of choosing a bit from first parent, </a:t>
              </a: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mutation.rate</a:t>
              </a:r>
              <a:r>
                <a:rPr lang="en-GB" sz="800" dirty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 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is probability of flipping a bit (on or off)</a:t>
              </a:r>
            </a:p>
            <a:p>
              <a:pPr lvl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endParaRPr lang="en-GB" sz="800" dirty="0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endParaRPr>
            </a:p>
            <a:p>
              <a:pPr lvl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selectFeatures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 returns a </a:t>
              </a: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FeatSelResult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 object which contains optimal features and an optimization path. To apply feature selection result (</a:t>
              </a: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fsr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) to your task (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tsk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), use:</a:t>
              </a:r>
            </a:p>
            <a:p>
              <a:pPr lvl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tsk = </a:t>
              </a: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subsetTask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(</a:t>
              </a: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tsk,features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=</a:t>
              </a: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fsr$x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)</a:t>
              </a:r>
              <a:endParaRPr lang="en-GB" sz="800" dirty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endParaRPr>
            </a:p>
          </p:txBody>
        </p:sp>
      </p:grpSp>
      <p:sp>
        <p:nvSpPr>
          <p:cNvPr id="19" name="Shape 38"/>
          <p:cNvSpPr/>
          <p:nvPr/>
        </p:nvSpPr>
        <p:spPr>
          <a:xfrm>
            <a:off x="3664695" y="256193"/>
            <a:ext cx="3263902" cy="337903"/>
          </a:xfrm>
          <a:prstGeom prst="roundRect">
            <a:avLst>
              <a:gd name="adj" fmla="val 20098"/>
            </a:avLst>
          </a:prstGeom>
          <a:solidFill>
            <a:srgbClr val="1D4BA8"/>
          </a:solidFill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 anchor="ctr"/>
          <a:lstStyle/>
          <a:p>
            <a:pPr lvl="1" indent="0">
              <a:defRPr sz="1800"/>
            </a:pPr>
            <a:r>
              <a:rPr lang="en-GB" sz="2000" dirty="0" smtClean="0">
                <a:solidFill>
                  <a:srgbClr val="FFFFFF"/>
                </a:solidFill>
                <a:latin typeface="Arial" panose="020B0604020202020204" pitchFamily="34" charset="0"/>
                <a:ea typeface="Source Sans Pro"/>
                <a:cs typeface="Arial" panose="020B0604020202020204" pitchFamily="34" charset="0"/>
                <a:sym typeface="Source Sans Pro"/>
              </a:rPr>
              <a:t>Feature Extraction</a:t>
            </a:r>
            <a:endParaRPr sz="2000" dirty="0">
              <a:solidFill>
                <a:srgbClr val="FFFFFF"/>
              </a:solidFill>
              <a:latin typeface="Arial" panose="020B0604020202020204" pitchFamily="34" charset="0"/>
              <a:ea typeface="Source Sans Pro"/>
              <a:cs typeface="Arial" panose="020B0604020202020204" pitchFamily="34" charset="0"/>
              <a:sym typeface="Source Sans Pro"/>
            </a:endParaRPr>
          </a:p>
        </p:txBody>
      </p:sp>
      <p:grpSp>
        <p:nvGrpSpPr>
          <p:cNvPr id="27" name="Group 26"/>
          <p:cNvGrpSpPr/>
          <p:nvPr/>
        </p:nvGrpSpPr>
        <p:grpSpPr>
          <a:xfrm>
            <a:off x="3664695" y="7020065"/>
            <a:ext cx="10096940" cy="3458462"/>
            <a:chOff x="3664695" y="5129559"/>
            <a:chExt cx="10096940" cy="5348970"/>
          </a:xfrm>
        </p:grpSpPr>
        <p:sp>
          <p:nvSpPr>
            <p:cNvPr id="25" name="Rechteck 71"/>
            <p:cNvSpPr/>
            <p:nvPr/>
          </p:nvSpPr>
          <p:spPr>
            <a:xfrm>
              <a:off x="3666627" y="6631367"/>
              <a:ext cx="3263902" cy="384716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no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de-DE" sz="260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sym typeface="Helvetica Light"/>
              </a:endParaRPr>
            </a:p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lang="de-DE" sz="2600" dirty="0">
                <a:solidFill>
                  <a:srgbClr val="FFFFFF"/>
                </a:solidFill>
              </a:endParaRPr>
            </a:p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de-DE" sz="260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sym typeface="Helvetica Light"/>
              </a:endParaRPr>
            </a:p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lang="de-DE" sz="2600" dirty="0">
                <a:solidFill>
                  <a:srgbClr val="FFFFFF"/>
                </a:solidFill>
              </a:endParaRPr>
            </a:p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de-DE" sz="260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sym typeface="Helvetica Light"/>
              </a:endParaRPr>
            </a:p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lang="de-DE" sz="2600" dirty="0">
                <a:solidFill>
                  <a:srgbClr val="FFFFFF"/>
                </a:solidFill>
              </a:endParaRPr>
            </a:p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de-DE" sz="260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sym typeface="Helvetica Light"/>
              </a:endParaRPr>
            </a:p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lang="de-DE" sz="2600" dirty="0">
                <a:solidFill>
                  <a:srgbClr val="FFFFFF"/>
                </a:solidFill>
              </a:endParaRPr>
            </a:p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de-DE" sz="260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sym typeface="Helvetica Light"/>
              </a:endParaRPr>
            </a:p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lang="de-DE" sz="2600" dirty="0">
                <a:solidFill>
                  <a:srgbClr val="FFFFFF"/>
                </a:solidFill>
              </a:endParaRPr>
            </a:p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de-DE" sz="260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sym typeface="Helvetica Light"/>
              </a:endParaRPr>
            </a:p>
          </p:txBody>
        </p:sp>
        <p:sp>
          <p:nvSpPr>
            <p:cNvPr id="26" name="Abgerundetes Rechteck 73"/>
            <p:cNvSpPr/>
            <p:nvPr/>
          </p:nvSpPr>
          <p:spPr>
            <a:xfrm>
              <a:off x="3806349" y="7085743"/>
              <a:ext cx="2960914" cy="3250537"/>
            </a:xfrm>
            <a:prstGeom prst="roundRect">
              <a:avLst>
                <a:gd name="adj" fmla="val 4902"/>
              </a:avLst>
            </a:prstGeom>
            <a:solidFill>
              <a:schemeClr val="bg1"/>
            </a:solidFill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4570" tIns="0" rIns="54570" bIns="0" numCol="1" spcCol="38100" rtlCol="0" anchor="t">
              <a:noAutofit/>
            </a:bodyPr>
            <a:lstStyle/>
            <a:p>
              <a:pPr lvl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spc="-1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benchmark(</a:t>
              </a:r>
              <a:r>
                <a:rPr lang="en-GB" sz="800" spc="-10" dirty="0" smtClean="0">
                  <a:solidFill>
                    <a:schemeClr val="tx1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learners=,tasks=,</a:t>
              </a:r>
              <a:r>
                <a:rPr lang="en-GB" sz="800" spc="-10" dirty="0" err="1" smtClean="0">
                  <a:solidFill>
                    <a:schemeClr val="bg1">
                      <a:lumMod val="50000"/>
                    </a:schemeClr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resamplings</a:t>
              </a:r>
              <a:r>
                <a:rPr lang="en-GB" sz="800" spc="-10" dirty="0" smtClean="0">
                  <a:solidFill>
                    <a:schemeClr val="bg1">
                      <a:lumMod val="50000"/>
                    </a:schemeClr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=</a:t>
              </a:r>
              <a:r>
                <a:rPr lang="en-GB" sz="800" spc="-10" dirty="0" smtClean="0">
                  <a:solidFill>
                    <a:schemeClr val="tx1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,</a:t>
              </a:r>
              <a:r>
                <a:rPr lang="en-GB" sz="800" spc="-10" dirty="0" smtClean="0">
                  <a:solidFill>
                    <a:schemeClr val="bg1">
                      <a:lumMod val="50000"/>
                    </a:schemeClr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measures=</a:t>
              </a:r>
              <a:r>
                <a:rPr lang="en-GB" sz="800" spc="-1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)</a:t>
              </a:r>
            </a:p>
            <a:p>
              <a:pPr lvl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Allows easy comparison of multiple learners on a single task, a single learner on multiple tasks, or multiple learners on multiple tasks. Returns a benchmark result object.</a:t>
              </a:r>
            </a:p>
            <a:p>
              <a:pPr lvl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endParaRPr lang="en-GB" sz="800" dirty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endParaRPr>
            </a:p>
            <a:p>
              <a:pPr lvl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Benchmark results can be accessed with a variety of functions beginning with </a:t>
              </a: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getBMR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&lt;object&gt;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: </a:t>
              </a: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AggrPerformance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 </a:t>
              </a: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FeatSelResults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 </a:t>
              </a: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FilteredFeatures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 </a:t>
              </a: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LearnerIds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 </a:t>
              </a: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LeanerShortNames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 Learners </a:t>
              </a: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MeasureIds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 Measures Models Performances Predictions </a:t>
              </a: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TaskDescs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 </a:t>
              </a: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TaskIds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 </a:t>
              </a: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TuneResults</a:t>
              </a:r>
              <a:endParaRPr lang="en-GB" sz="800" dirty="0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endParaRPr>
            </a:p>
            <a:p>
              <a:pPr lvl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endParaRPr lang="en-GB" sz="800" dirty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endParaRPr>
            </a:p>
            <a:p>
              <a:pPr lvl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err="1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mlr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 contains several toy tasks which are useful for benchmarking:</a:t>
              </a:r>
            </a:p>
            <a:p>
              <a:pPr lvl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agri.task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 </a:t>
              </a: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bc.task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 </a:t>
              </a: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bh.task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 </a:t>
              </a: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costiris.task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 </a:t>
              </a: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iris.task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 </a:t>
              </a: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lung.task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 </a:t>
              </a: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mtcars.task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 </a:t>
              </a: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pid.task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 </a:t>
              </a: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sonar.task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 </a:t>
              </a: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wpbc.task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 </a:t>
              </a: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yeast.task</a:t>
              </a:r>
              <a:endParaRPr lang="en-GB" sz="800" dirty="0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endParaRPr>
            </a:p>
            <a:p>
              <a:pPr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endParaRPr lang="en-GB" sz="800" dirty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endParaRPr>
            </a:p>
            <a:p>
              <a:pPr lvl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endParaRPr lang="en-GB" sz="800" dirty="0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endParaRPr>
            </a:p>
          </p:txBody>
        </p:sp>
        <p:sp>
          <p:nvSpPr>
            <p:cNvPr id="24" name="Shape 38"/>
            <p:cNvSpPr/>
            <p:nvPr/>
          </p:nvSpPr>
          <p:spPr>
            <a:xfrm>
              <a:off x="3664695" y="6449630"/>
              <a:ext cx="3263902" cy="522609"/>
            </a:xfrm>
            <a:prstGeom prst="roundRect">
              <a:avLst>
                <a:gd name="adj" fmla="val 20098"/>
              </a:avLst>
            </a:prstGeom>
            <a:solidFill>
              <a:srgbClr val="1D4BA8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lIns="0" tIns="0" rIns="0" bIns="0" anchor="ctr"/>
            <a:lstStyle/>
            <a:p>
              <a:pPr lvl="1" indent="0">
                <a:defRPr sz="1800"/>
              </a:pPr>
              <a:r>
                <a:rPr lang="en-GB" sz="2000" dirty="0" smtClean="0">
                  <a:solidFill>
                    <a:srgbClr val="FFFFFF"/>
                  </a:solidFill>
                  <a:latin typeface="Arial" panose="020B0604020202020204" pitchFamily="34" charset="0"/>
                  <a:ea typeface="Source Sans Pro"/>
                  <a:cs typeface="Arial" panose="020B0604020202020204" pitchFamily="34" charset="0"/>
                  <a:sym typeface="Source Sans Pro"/>
                </a:rPr>
                <a:t>Benchmarking</a:t>
              </a:r>
              <a:endParaRPr sz="2000" dirty="0">
                <a:solidFill>
                  <a:srgbClr val="FFFFFF"/>
                </a:solidFill>
                <a:latin typeface="Arial" panose="020B0604020202020204" pitchFamily="34" charset="0"/>
                <a:ea typeface="Source Sans Pro"/>
                <a:cs typeface="Arial" panose="020B0604020202020204" pitchFamily="34" charset="0"/>
                <a:sym typeface="Source Sans Pro"/>
              </a:endParaRPr>
            </a:p>
          </p:txBody>
        </p:sp>
        <p:sp>
          <p:nvSpPr>
            <p:cNvPr id="132" name="Rechteck 71"/>
            <p:cNvSpPr/>
            <p:nvPr/>
          </p:nvSpPr>
          <p:spPr>
            <a:xfrm>
              <a:off x="10497733" y="8064830"/>
              <a:ext cx="3263902" cy="241369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no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de-DE" sz="260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sym typeface="Helvetica Light"/>
              </a:endParaRPr>
            </a:p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lang="de-DE" sz="2600" dirty="0">
                <a:solidFill>
                  <a:srgbClr val="FFFFFF"/>
                </a:solidFill>
              </a:endParaRPr>
            </a:p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de-DE" sz="260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sym typeface="Helvetica Light"/>
              </a:endParaRPr>
            </a:p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lang="de-DE" sz="2600" dirty="0">
                <a:solidFill>
                  <a:srgbClr val="FFFFFF"/>
                </a:solidFill>
              </a:endParaRPr>
            </a:p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de-DE" sz="260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sym typeface="Helvetica Light"/>
              </a:endParaRPr>
            </a:p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lang="de-DE" sz="2600" dirty="0">
                <a:solidFill>
                  <a:srgbClr val="FFFFFF"/>
                </a:solidFill>
              </a:endParaRPr>
            </a:p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de-DE" sz="260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sym typeface="Helvetica Light"/>
              </a:endParaRPr>
            </a:p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lang="de-DE" sz="2600" dirty="0">
                <a:solidFill>
                  <a:srgbClr val="FFFFFF"/>
                </a:solidFill>
              </a:endParaRPr>
            </a:p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de-DE" sz="260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sym typeface="Helvetica Light"/>
              </a:endParaRPr>
            </a:p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lang="de-DE" sz="2600" dirty="0">
                <a:solidFill>
                  <a:srgbClr val="FFFFFF"/>
                </a:solidFill>
              </a:endParaRPr>
            </a:p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de-DE" sz="260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sym typeface="Helvetica Light"/>
              </a:endParaRPr>
            </a:p>
          </p:txBody>
        </p:sp>
        <p:sp>
          <p:nvSpPr>
            <p:cNvPr id="133" name="Abgerundetes Rechteck 73"/>
            <p:cNvSpPr/>
            <p:nvPr/>
          </p:nvSpPr>
          <p:spPr>
            <a:xfrm>
              <a:off x="10637455" y="8321258"/>
              <a:ext cx="2960914" cy="2015022"/>
            </a:xfrm>
            <a:prstGeom prst="roundRect">
              <a:avLst>
                <a:gd name="adj" fmla="val 4902"/>
              </a:avLst>
            </a:prstGeom>
            <a:solidFill>
              <a:schemeClr val="bg1"/>
            </a:solidFill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4570" tIns="0" rIns="54570" bIns="0" numCol="1" spcCol="38100" rtlCol="0" anchor="t">
              <a:noAutofit/>
            </a:bodyPr>
            <a:lstStyle/>
            <a:p>
              <a:pPr lvl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spc="-1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makeStackedLearner</a:t>
              </a:r>
              <a:r>
                <a:rPr lang="en-GB" sz="800" spc="-1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(</a:t>
              </a:r>
              <a:r>
                <a:rPr lang="en-GB" sz="800" spc="-10" dirty="0" err="1" smtClean="0">
                  <a:solidFill>
                    <a:schemeClr val="tx1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base.learners</a:t>
              </a:r>
              <a:r>
                <a:rPr lang="en-GB" sz="800" spc="-10" dirty="0" smtClean="0">
                  <a:solidFill>
                    <a:schemeClr val="tx1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=,</a:t>
              </a:r>
              <a:r>
                <a:rPr lang="en-GB" sz="800" spc="-10" dirty="0" err="1" smtClean="0">
                  <a:solidFill>
                    <a:schemeClr val="bg1">
                      <a:lumMod val="50000"/>
                    </a:schemeClr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super.learner</a:t>
              </a:r>
              <a:r>
                <a:rPr lang="en-GB" sz="800" spc="-10" dirty="0" smtClean="0">
                  <a:solidFill>
                    <a:schemeClr val="bg1">
                      <a:lumMod val="50000"/>
                    </a:schemeClr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=,</a:t>
              </a:r>
            </a:p>
            <a:p>
              <a:pPr lvl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spc="-10" dirty="0" smtClean="0">
                  <a:solidFill>
                    <a:schemeClr val="bg1">
                      <a:lumMod val="50000"/>
                    </a:schemeClr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method=</a:t>
              </a:r>
              <a:r>
                <a:rPr lang="en-GB" sz="800" spc="-1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)</a:t>
              </a:r>
              <a:r>
                <a:rPr lang="en-GB" sz="800" spc="-1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 Combines multiple learners to create an ensemble</a:t>
              </a:r>
              <a:endParaRPr lang="en-GB" sz="800" dirty="0" smtClean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endParaRPr>
            </a:p>
            <a:p>
              <a:pPr marL="114300" lvl="0" indent="-114300" algn="l">
                <a:buClr>
                  <a:srgbClr val="1D4BA8"/>
                </a:buClr>
                <a:buFont typeface="Arial" panose="020B0604020202020204" pitchFamily="34" charset="0"/>
                <a:buChar char="•"/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base.learners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=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learners to use for initial predictions</a:t>
              </a:r>
            </a:p>
            <a:p>
              <a:pPr marL="114300" indent="-114300" algn="l">
                <a:buClr>
                  <a:srgbClr val="1D4BA8"/>
                </a:buClr>
                <a:buFont typeface="Arial" panose="020B0604020202020204" pitchFamily="34" charset="0"/>
                <a:buChar char="•"/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super.learner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=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learner to use for final prediction</a:t>
              </a:r>
            </a:p>
            <a:p>
              <a:pPr marL="114300" indent="-114300" algn="l">
                <a:buClr>
                  <a:srgbClr val="1D4BA8"/>
                </a:buClr>
                <a:buFont typeface="Arial" panose="020B0604020202020204" pitchFamily="34" charset="0"/>
                <a:buChar char="•"/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method=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how to combine base learner predictions:</a:t>
              </a:r>
            </a:p>
            <a:p>
              <a:pPr marL="228600" indent="-114300" algn="l">
                <a:buClr>
                  <a:srgbClr val="1D4BA8"/>
                </a:buClr>
                <a:buFont typeface="Arial" panose="020B0604020202020204" pitchFamily="34" charset="0"/>
                <a:buChar char="•"/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US" sz="800" dirty="0" smtClean="0">
                  <a:solidFill>
                    <a:srgbClr val="0070C0"/>
                  </a:solidFill>
                  <a:latin typeface="Consolas" panose="020B0609020204030204" pitchFamily="49" charset="0"/>
                  <a:sym typeface="Menlo"/>
                </a:rPr>
                <a:t>"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average</a:t>
              </a:r>
              <a:r>
                <a:rPr lang="en-US" sz="800" dirty="0" smtClean="0">
                  <a:solidFill>
                    <a:srgbClr val="0070C0"/>
                  </a:solidFill>
                  <a:latin typeface="Consolas" panose="020B0609020204030204" pitchFamily="49" charset="0"/>
                  <a:sym typeface="Menlo"/>
                </a:rPr>
                <a:t>"</a:t>
              </a:r>
              <a:r>
                <a:rPr lang="en-US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sym typeface="Menlo"/>
                </a:rPr>
                <a:t> simple average of all base learners</a:t>
              </a:r>
            </a:p>
            <a:p>
              <a:pPr marL="228600" indent="-114300" algn="l">
                <a:buClr>
                  <a:srgbClr val="1D4BA8"/>
                </a:buClr>
                <a:buFont typeface="Arial" panose="020B0604020202020204" pitchFamily="34" charset="0"/>
                <a:buChar char="•"/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US" sz="800" dirty="0" smtClean="0">
                  <a:solidFill>
                    <a:srgbClr val="0070C0"/>
                  </a:solidFill>
                  <a:latin typeface="Consolas" panose="020B0609020204030204" pitchFamily="49" charset="0"/>
                  <a:sym typeface="Menlo"/>
                </a:rPr>
                <a:t>"</a:t>
              </a: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stack.nocv</a:t>
              </a:r>
              <a:r>
                <a:rPr lang="en-US" sz="800" dirty="0" smtClean="0">
                  <a:solidFill>
                    <a:srgbClr val="0070C0"/>
                  </a:solidFill>
                  <a:latin typeface="Consolas" panose="020B0609020204030204" pitchFamily="49" charset="0"/>
                  <a:sym typeface="Menlo"/>
                </a:rPr>
                <a:t>"</a:t>
              </a:r>
              <a:r>
                <a:rPr lang="en-US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sym typeface="Menlo"/>
                </a:rPr>
                <a:t>, </a:t>
              </a:r>
              <a:r>
                <a:rPr lang="en-US" sz="800" dirty="0" smtClean="0">
                  <a:solidFill>
                    <a:srgbClr val="0070C0"/>
                  </a:solidFill>
                  <a:latin typeface="Consolas" panose="020B0609020204030204" pitchFamily="49" charset="0"/>
                  <a:sym typeface="Menlo"/>
                </a:rPr>
                <a:t>"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stack.cv</a:t>
              </a:r>
              <a:r>
                <a:rPr lang="en-US" sz="800" dirty="0" smtClean="0">
                  <a:solidFill>
                    <a:srgbClr val="0070C0"/>
                  </a:solidFill>
                  <a:latin typeface="Consolas" panose="020B0609020204030204" pitchFamily="49" charset="0"/>
                  <a:sym typeface="Menlo"/>
                </a:rPr>
                <a:t>"</a:t>
              </a:r>
              <a:r>
                <a:rPr lang="en-US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sym typeface="Menlo"/>
                </a:rPr>
                <a:t> train super learner on results of base learners, with or without cross-validation</a:t>
              </a:r>
            </a:p>
            <a:p>
              <a:pPr marL="228600" indent="-114300" algn="l">
                <a:buClr>
                  <a:srgbClr val="1D4BA8"/>
                </a:buClr>
                <a:buFont typeface="Arial" panose="020B0604020202020204" pitchFamily="34" charset="0"/>
                <a:buChar char="•"/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US" sz="800" dirty="0" smtClean="0">
                  <a:solidFill>
                    <a:srgbClr val="0070C0"/>
                  </a:solidFill>
                  <a:latin typeface="Consolas" panose="020B0609020204030204" pitchFamily="49" charset="0"/>
                  <a:sym typeface="Menlo"/>
                </a:rPr>
                <a:t>"</a:t>
              </a: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hill.climb</a:t>
              </a:r>
              <a:r>
                <a:rPr lang="en-US" sz="800" dirty="0" smtClean="0">
                  <a:solidFill>
                    <a:srgbClr val="0070C0"/>
                  </a:solidFill>
                  <a:latin typeface="Consolas" panose="020B0609020204030204" pitchFamily="49" charset="0"/>
                  <a:sym typeface="Menlo"/>
                </a:rPr>
                <a:t>"</a:t>
              </a:r>
              <a:r>
                <a:rPr lang="en-US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sym typeface="Menlo"/>
                </a:rPr>
                <a:t> search for optimal weighted average</a:t>
              </a:r>
            </a:p>
            <a:p>
              <a:pPr marL="228600" indent="-114300" algn="l">
                <a:buClr>
                  <a:srgbClr val="1D4BA8"/>
                </a:buClr>
                <a:buFont typeface="Arial" panose="020B0604020202020204" pitchFamily="34" charset="0"/>
                <a:buChar char="•"/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US" sz="800" dirty="0" smtClean="0">
                  <a:solidFill>
                    <a:srgbClr val="0070C0"/>
                  </a:solidFill>
                  <a:latin typeface="Consolas" panose="020B0609020204030204" pitchFamily="49" charset="0"/>
                  <a:sym typeface="Menlo"/>
                </a:rPr>
                <a:t>"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compress</a:t>
              </a:r>
              <a:r>
                <a:rPr lang="en-US" sz="800" dirty="0" smtClean="0">
                  <a:solidFill>
                    <a:srgbClr val="0070C0"/>
                  </a:solidFill>
                  <a:latin typeface="Consolas" panose="020B0609020204030204" pitchFamily="49" charset="0"/>
                  <a:sym typeface="Menlo"/>
                </a:rPr>
                <a:t>"</a:t>
              </a:r>
              <a:r>
                <a:rPr lang="en-US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sym typeface="Menlo"/>
                </a:rPr>
                <a:t> with a neural network for faster performance</a:t>
              </a:r>
              <a:endParaRPr lang="en-GB" sz="800" dirty="0" smtClean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endParaRPr>
            </a:p>
          </p:txBody>
        </p:sp>
        <p:sp>
          <p:nvSpPr>
            <p:cNvPr id="134" name="Shape 38"/>
            <p:cNvSpPr/>
            <p:nvPr/>
          </p:nvSpPr>
          <p:spPr>
            <a:xfrm>
              <a:off x="10476121" y="7678714"/>
              <a:ext cx="3263902" cy="522609"/>
            </a:xfrm>
            <a:prstGeom prst="roundRect">
              <a:avLst>
                <a:gd name="adj" fmla="val 20098"/>
              </a:avLst>
            </a:prstGeom>
            <a:solidFill>
              <a:srgbClr val="1D4BA8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lIns="0" tIns="0" rIns="0" bIns="0" anchor="ctr"/>
            <a:lstStyle/>
            <a:p>
              <a:pPr lvl="1" indent="0">
                <a:defRPr sz="1800"/>
              </a:pPr>
              <a:r>
                <a:rPr lang="en-GB" sz="2000" dirty="0" smtClean="0">
                  <a:solidFill>
                    <a:srgbClr val="FFFFFF"/>
                  </a:solidFill>
                  <a:latin typeface="Arial" panose="020B0604020202020204" pitchFamily="34" charset="0"/>
                  <a:ea typeface="Source Sans Pro"/>
                  <a:cs typeface="Arial" panose="020B0604020202020204" pitchFamily="34" charset="0"/>
                  <a:sym typeface="Source Sans Pro"/>
                </a:rPr>
                <a:t>Ensembles</a:t>
              </a:r>
              <a:endParaRPr sz="2000" dirty="0">
                <a:solidFill>
                  <a:srgbClr val="FFFFFF"/>
                </a:solidFill>
                <a:latin typeface="Arial" panose="020B0604020202020204" pitchFamily="34" charset="0"/>
                <a:ea typeface="Source Sans Pro"/>
                <a:cs typeface="Arial" panose="020B0604020202020204" pitchFamily="34" charset="0"/>
                <a:sym typeface="Source Sans Pro"/>
              </a:endParaRPr>
            </a:p>
          </p:txBody>
        </p:sp>
        <p:sp>
          <p:nvSpPr>
            <p:cNvPr id="204" name="Rechteck 71"/>
            <p:cNvSpPr/>
            <p:nvPr/>
          </p:nvSpPr>
          <p:spPr>
            <a:xfrm>
              <a:off x="10497733" y="5515676"/>
              <a:ext cx="3263902" cy="2020793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no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de-DE" sz="260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sym typeface="Helvetica Light"/>
              </a:endParaRPr>
            </a:p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lang="de-DE" sz="2600" dirty="0">
                <a:solidFill>
                  <a:srgbClr val="FFFFFF"/>
                </a:solidFill>
              </a:endParaRPr>
            </a:p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de-DE" sz="260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sym typeface="Helvetica Light"/>
              </a:endParaRPr>
            </a:p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lang="de-DE" sz="2600" dirty="0">
                <a:solidFill>
                  <a:srgbClr val="FFFFFF"/>
                </a:solidFill>
              </a:endParaRPr>
            </a:p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de-DE" sz="260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sym typeface="Helvetica Light"/>
              </a:endParaRPr>
            </a:p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lang="de-DE" sz="2600" dirty="0">
                <a:solidFill>
                  <a:srgbClr val="FFFFFF"/>
                </a:solidFill>
              </a:endParaRPr>
            </a:p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de-DE" sz="260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sym typeface="Helvetica Light"/>
              </a:endParaRPr>
            </a:p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lang="de-DE" sz="2600" dirty="0">
                <a:solidFill>
                  <a:srgbClr val="FFFFFF"/>
                </a:solidFill>
              </a:endParaRPr>
            </a:p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de-DE" sz="260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sym typeface="Helvetica Light"/>
              </a:endParaRPr>
            </a:p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lang="de-DE" sz="2600" dirty="0">
                <a:solidFill>
                  <a:srgbClr val="FFFFFF"/>
                </a:solidFill>
              </a:endParaRPr>
            </a:p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de-DE" sz="260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sym typeface="Helvetica Light"/>
              </a:endParaRPr>
            </a:p>
          </p:txBody>
        </p:sp>
        <p:sp>
          <p:nvSpPr>
            <p:cNvPr id="205" name="Abgerundetes Rechteck 73"/>
            <p:cNvSpPr/>
            <p:nvPr/>
          </p:nvSpPr>
          <p:spPr>
            <a:xfrm>
              <a:off x="10637455" y="5772104"/>
              <a:ext cx="2960914" cy="1585606"/>
            </a:xfrm>
            <a:prstGeom prst="roundRect">
              <a:avLst>
                <a:gd name="adj" fmla="val 4902"/>
              </a:avLst>
            </a:prstGeom>
            <a:solidFill>
              <a:schemeClr val="bg1"/>
            </a:solidFill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4570" tIns="0" rIns="54570" bIns="0" numCol="1" spcCol="38100" rtlCol="0" anchor="t">
              <a:noAutofit/>
            </a:bodyPr>
            <a:lstStyle/>
            <a:p>
              <a:pPr lvl="0" algn="l">
                <a:buClr>
                  <a:srgbClr val="1D4BA8"/>
                </a:buClr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err="1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mlr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 supports </a:t>
              </a:r>
              <a:r>
                <a:rPr lang="en-GB" sz="800" b="1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nested resampling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 for complex operations such as tuning and feature selection through wrappers. In order to get a good estimate of generalization performance and avoid data leakage, both an outer (for tuning/feature selection) and an inner (for the base model) resampling process are advised.</a:t>
              </a:r>
            </a:p>
            <a:p>
              <a:pPr marL="117475" lvl="0" indent="-117475" algn="l">
                <a:buClr>
                  <a:srgbClr val="1D4BA8"/>
                </a:buClr>
                <a:buFont typeface="Arial" panose="020B0604020202020204" pitchFamily="34" charset="0"/>
                <a:buChar char="•"/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Outer resampling can be specified in 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resample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 or </a:t>
              </a:r>
              <a:r>
                <a: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benchmark</a:t>
              </a:r>
            </a:p>
            <a:p>
              <a:pPr marL="117475" lvl="0" indent="-117475" algn="l">
                <a:buClr>
                  <a:srgbClr val="1D4BA8"/>
                </a:buClr>
                <a:buFont typeface="Arial" panose="020B0604020202020204" pitchFamily="34" charset="0"/>
                <a:buChar char="•"/>
                <a:defRPr sz="1000">
                  <a:latin typeface="Menlo"/>
                  <a:ea typeface="Menlo"/>
                  <a:cs typeface="Menlo"/>
                  <a:sym typeface="Menlo"/>
                </a:defRPr>
              </a:pP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Inner resampling can be specified in </a:t>
              </a: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makeTuneWrapper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, </a:t>
              </a:r>
              <a:r>
                <a:rPr lang="en-GB" sz="800" dirty="0" err="1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makeFeatSelWrapper</a:t>
              </a:r>
              <a:r>
                <a: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rPr>
                <a:t>, etc.</a:t>
              </a:r>
            </a:p>
          </p:txBody>
        </p:sp>
        <p:sp>
          <p:nvSpPr>
            <p:cNvPr id="206" name="Shape 38"/>
            <p:cNvSpPr/>
            <p:nvPr/>
          </p:nvSpPr>
          <p:spPr>
            <a:xfrm>
              <a:off x="10476121" y="5129559"/>
              <a:ext cx="3263902" cy="522609"/>
            </a:xfrm>
            <a:prstGeom prst="roundRect">
              <a:avLst>
                <a:gd name="adj" fmla="val 20098"/>
              </a:avLst>
            </a:prstGeom>
            <a:solidFill>
              <a:srgbClr val="1D4BA8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lIns="0" tIns="0" rIns="0" bIns="0" anchor="ctr"/>
            <a:lstStyle/>
            <a:p>
              <a:pPr lvl="1" indent="0">
                <a:defRPr sz="1800"/>
              </a:pPr>
              <a:r>
                <a:rPr lang="en-GB" sz="2000" smtClean="0">
                  <a:solidFill>
                    <a:srgbClr val="FFFFFF"/>
                  </a:solidFill>
                  <a:latin typeface="Arial" panose="020B0604020202020204" pitchFamily="34" charset="0"/>
                  <a:ea typeface="Source Sans Pro"/>
                  <a:cs typeface="Arial" panose="020B0604020202020204" pitchFamily="34" charset="0"/>
                  <a:sym typeface="Source Sans Pro"/>
                </a:rPr>
                <a:t>Nested Resampling</a:t>
              </a:r>
              <a:endParaRPr sz="2000" dirty="0">
                <a:solidFill>
                  <a:srgbClr val="FFFFFF"/>
                </a:solidFill>
                <a:latin typeface="Arial" panose="020B0604020202020204" pitchFamily="34" charset="0"/>
                <a:ea typeface="Source Sans Pro"/>
                <a:cs typeface="Arial" panose="020B0604020202020204" pitchFamily="34" charset="0"/>
                <a:sym typeface="Source Sans Pro"/>
              </a:endParaRPr>
            </a:p>
          </p:txBody>
        </p:sp>
      </p:grpSp>
      <p:sp>
        <p:nvSpPr>
          <p:cNvPr id="32" name="Rechteck 71"/>
          <p:cNvSpPr/>
          <p:nvPr/>
        </p:nvSpPr>
        <p:spPr>
          <a:xfrm>
            <a:off x="254062" y="6858000"/>
            <a:ext cx="3263902" cy="3620527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4570" tIns="54570" rIns="54570" bIns="54570" numCol="1" spcCol="38100" rtlCol="0" anchor="ctr">
            <a:no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260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sym typeface="Helvetica Light"/>
            </a:endParaRPr>
          </a:p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de-DE" sz="2600" dirty="0">
              <a:solidFill>
                <a:srgbClr val="FFFFFF"/>
              </a:solidFill>
            </a:endParaRPr>
          </a:p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260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sym typeface="Helvetica Light"/>
            </a:endParaRPr>
          </a:p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de-DE" sz="2600" dirty="0">
              <a:solidFill>
                <a:srgbClr val="FFFFFF"/>
              </a:solidFill>
            </a:endParaRPr>
          </a:p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260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sym typeface="Helvetica Light"/>
            </a:endParaRPr>
          </a:p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de-DE" sz="2600" dirty="0">
              <a:solidFill>
                <a:srgbClr val="FFFFFF"/>
              </a:solidFill>
            </a:endParaRPr>
          </a:p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260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sym typeface="Helvetica Light"/>
            </a:endParaRPr>
          </a:p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de-DE" sz="2600" dirty="0">
              <a:solidFill>
                <a:srgbClr val="FFFFFF"/>
              </a:solidFill>
            </a:endParaRPr>
          </a:p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260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sym typeface="Helvetica Light"/>
            </a:endParaRPr>
          </a:p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de-DE" sz="2600" dirty="0">
              <a:solidFill>
                <a:srgbClr val="FFFFFF"/>
              </a:solidFill>
            </a:endParaRPr>
          </a:p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260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sym typeface="Helvetica Light"/>
            </a:endParaRPr>
          </a:p>
        </p:txBody>
      </p:sp>
      <p:sp>
        <p:nvSpPr>
          <p:cNvPr id="33" name="Abgerundetes Rechteck 73"/>
          <p:cNvSpPr/>
          <p:nvPr/>
        </p:nvSpPr>
        <p:spPr>
          <a:xfrm>
            <a:off x="393784" y="7143279"/>
            <a:ext cx="3007856" cy="3243278"/>
          </a:xfrm>
          <a:prstGeom prst="roundRect">
            <a:avLst>
              <a:gd name="adj" fmla="val 4902"/>
            </a:avLst>
          </a:prstGeom>
          <a:solidFill>
            <a:schemeClr val="bg1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4570" tIns="0" rIns="54570" bIns="0" numCol="1" spcCol="38100" rtlCol="0" anchor="t">
            <a:noAutofit/>
          </a:bodyPr>
          <a:lstStyle/>
          <a:p>
            <a:pPr lvl="0" algn="l">
              <a:buClr>
                <a:srgbClr val="1D4BA8"/>
              </a:buClr>
              <a:defRPr sz="1000">
                <a:latin typeface="Menlo"/>
                <a:ea typeface="Menlo"/>
                <a:cs typeface="Menlo"/>
                <a:sym typeface="Menlo"/>
              </a:defRPr>
            </a:pPr>
            <a:r>
              <a:rPr lang="en-GB" sz="800" dirty="0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impute(</a:t>
            </a:r>
            <a:r>
              <a:rPr lang="en-GB" sz="800" dirty="0" err="1" smtClean="0">
                <a:solidFill>
                  <a:schemeClr val="tx1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obj</a:t>
            </a:r>
            <a:r>
              <a:rPr lang="en-GB" sz="800" dirty="0" smtClean="0">
                <a:solidFill>
                  <a:schemeClr val="tx1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=,target=,cols=,</a:t>
            </a:r>
            <a:r>
              <a:rPr lang="en-GB" sz="800" dirty="0" err="1" smtClean="0">
                <a:solidFill>
                  <a:schemeClr val="tx1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dummy.cols</a:t>
            </a:r>
            <a:r>
              <a:rPr lang="en-GB" sz="800" dirty="0" smtClean="0">
                <a:solidFill>
                  <a:schemeClr val="tx1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=,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dummy.type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=</a:t>
            </a:r>
            <a:r>
              <a:rPr lang="en-GB" sz="800" dirty="0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)</a:t>
            </a:r>
          </a:p>
          <a:p>
            <a:pPr lvl="0" algn="l">
              <a:buClr>
                <a:srgbClr val="1D4BA8"/>
              </a:buClr>
              <a:defRPr sz="1000">
                <a:latin typeface="Menlo"/>
                <a:ea typeface="Menlo"/>
                <a:cs typeface="Menlo"/>
                <a:sym typeface="Menlo"/>
              </a:defRPr>
            </a:pPr>
            <a:r>
              <a:rPr lang="en-GB" sz="800" dirty="0" smtClean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Applies specified logic to data frame or task containing NAs and returns an imputation description which can be used on new data</a:t>
            </a:r>
          </a:p>
          <a:p>
            <a:pPr marL="114300" lvl="0" indent="-114300" algn="l">
              <a:buClr>
                <a:srgbClr val="1D4BA8"/>
              </a:buClr>
              <a:buFont typeface="Arial" panose="020B0604020202020204" pitchFamily="34" charset="0"/>
              <a:buChar char="•"/>
              <a:defRPr sz="1000">
                <a:latin typeface="Menlo"/>
                <a:ea typeface="Menlo"/>
                <a:cs typeface="Menlo"/>
                <a:sym typeface="Menlo"/>
              </a:defRPr>
            </a:pPr>
            <a:r>
              <a:rPr lang="en-GB" sz="800" dirty="0" err="1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obj</a:t>
            </a:r>
            <a:r>
              <a:rPr lang="en-GB" sz="800" dirty="0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=</a:t>
            </a:r>
            <a:r>
              <a:rPr lang="en-GB" sz="800" dirty="0" smtClean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data frame or task on which to perform imputation</a:t>
            </a:r>
          </a:p>
          <a:p>
            <a:pPr marL="114300" lvl="0" indent="-114300" algn="l">
              <a:buClr>
                <a:srgbClr val="1D4BA8"/>
              </a:buClr>
              <a:buFont typeface="Arial" panose="020B0604020202020204" pitchFamily="34" charset="0"/>
              <a:buChar char="•"/>
              <a:defRPr sz="1000">
                <a:latin typeface="Menlo"/>
                <a:ea typeface="Menlo"/>
                <a:cs typeface="Menlo"/>
                <a:sym typeface="Menlo"/>
              </a:defRPr>
            </a:pPr>
            <a:r>
              <a:rPr lang="en-GB" sz="800" dirty="0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target=</a:t>
            </a:r>
            <a:r>
              <a:rPr lang="en-GB" sz="800" dirty="0" smtClean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specify target variable which will not be imputed</a:t>
            </a:r>
          </a:p>
          <a:p>
            <a:pPr marL="114300" indent="-114300" algn="l">
              <a:buClr>
                <a:srgbClr val="1D4BA8"/>
              </a:buClr>
              <a:buFont typeface="Arial" panose="020B0604020202020204" pitchFamily="34" charset="0"/>
              <a:buChar char="•"/>
              <a:defRPr sz="1000">
                <a:latin typeface="Menlo"/>
                <a:ea typeface="Menlo"/>
                <a:cs typeface="Menlo"/>
                <a:sym typeface="Menlo"/>
              </a:defRPr>
            </a:pPr>
            <a:r>
              <a:rPr lang="en-GB" sz="800" dirty="0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cols=</a:t>
            </a:r>
            <a:r>
              <a:rPr lang="en-GB" sz="800" dirty="0" smtClean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column names and logic for imputation*</a:t>
            </a:r>
            <a:endParaRPr lang="en-GB" sz="800" dirty="0" smtClean="0">
              <a:solidFill>
                <a:schemeClr val="tx1"/>
              </a:solidFill>
              <a:latin typeface="Consolas" panose="020B0609020204030204" pitchFamily="49" charset="0"/>
              <a:ea typeface="Source Sans Pro" panose="020B0503030403020204" pitchFamily="34" charset="0"/>
              <a:cs typeface="Courier New" panose="02070309020205020404" pitchFamily="49" charset="0"/>
              <a:sym typeface="Menlo"/>
            </a:endParaRPr>
          </a:p>
          <a:p>
            <a:pPr marL="114300" lvl="0" indent="-114300" algn="l">
              <a:buClr>
                <a:srgbClr val="1D4BA8"/>
              </a:buClr>
              <a:buFont typeface="Arial" panose="020B0604020202020204" pitchFamily="34" charset="0"/>
              <a:buChar char="•"/>
              <a:defRPr sz="1000">
                <a:latin typeface="Menlo"/>
                <a:ea typeface="Menlo"/>
                <a:cs typeface="Menlo"/>
                <a:sym typeface="Menlo"/>
              </a:defRPr>
            </a:pPr>
            <a:r>
              <a:rPr lang="en-GB" sz="800" dirty="0" err="1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dummy.cols</a:t>
            </a:r>
            <a:r>
              <a:rPr lang="en-GB" sz="800" dirty="0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=</a:t>
            </a:r>
            <a:r>
              <a:rPr lang="en-GB" sz="800" dirty="0" smtClean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column names to create a NA (T/F) column*</a:t>
            </a:r>
          </a:p>
          <a:p>
            <a:pPr marL="114300" lvl="0" indent="-114300" algn="l">
              <a:buClr>
                <a:srgbClr val="1D4BA8"/>
              </a:buClr>
              <a:buFont typeface="Arial" panose="020B0604020202020204" pitchFamily="34" charset="0"/>
              <a:buChar char="•"/>
              <a:defRPr sz="1000">
                <a:latin typeface="Menlo"/>
                <a:ea typeface="Menlo"/>
                <a:cs typeface="Menlo"/>
                <a:sym typeface="Menlo"/>
              </a:defRPr>
            </a:pPr>
            <a:r>
              <a:rPr lang="en-GB" sz="800" dirty="0" err="1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dummy.type</a:t>
            </a:r>
            <a:r>
              <a:rPr lang="en-GB" sz="800" dirty="0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=</a:t>
            </a:r>
            <a:r>
              <a:rPr lang="en-GB" sz="800" dirty="0" smtClean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set to </a:t>
            </a:r>
            <a:r>
              <a:rPr lang="en-GB" sz="800" dirty="0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"numeric"</a:t>
            </a:r>
            <a:r>
              <a:rPr lang="en-GB" sz="800" dirty="0" smtClean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 to use (0,1) instead of (T/F)</a:t>
            </a:r>
            <a:endParaRPr lang="en-GB" sz="800" dirty="0" smtClean="0">
              <a:solidFill>
                <a:srgbClr val="0070C0"/>
              </a:solidFill>
              <a:latin typeface="Consolas" panose="020B0609020204030204" pitchFamily="49" charset="0"/>
              <a:ea typeface="Source Sans Pro" panose="020B0503030403020204" pitchFamily="34" charset="0"/>
              <a:cs typeface="Courier New" panose="02070309020205020404" pitchFamily="49" charset="0"/>
              <a:sym typeface="Menlo"/>
            </a:endParaRPr>
          </a:p>
          <a:p>
            <a:pPr lvl="0" algn="l">
              <a:buClr>
                <a:srgbClr val="1D4BA8"/>
              </a:buClr>
              <a:defRPr sz="1000">
                <a:latin typeface="Menlo"/>
                <a:ea typeface="Menlo"/>
                <a:cs typeface="Menlo"/>
                <a:sym typeface="Menlo"/>
              </a:defRPr>
            </a:pPr>
            <a:r>
              <a:rPr lang="en-GB" sz="800" dirty="0" smtClean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*Can also use </a:t>
            </a:r>
            <a:r>
              <a:rPr lang="en-GB" sz="800" dirty="0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classes</a:t>
            </a:r>
            <a:r>
              <a:rPr lang="en-GB" sz="800" dirty="0" smtClean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 and </a:t>
            </a:r>
            <a:r>
              <a:rPr lang="en-GB" sz="800" dirty="0" err="1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dummy.classes</a:t>
            </a:r>
            <a:r>
              <a:rPr lang="en-GB" sz="800" dirty="0" smtClean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 in place of </a:t>
            </a:r>
            <a:r>
              <a:rPr lang="en-GB" sz="800" dirty="0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cols</a:t>
            </a:r>
          </a:p>
          <a:p>
            <a:pPr lvl="0" algn="l">
              <a:buClr>
                <a:srgbClr val="1D4BA8"/>
              </a:buClr>
              <a:defRPr sz="1000">
                <a:latin typeface="Menlo"/>
                <a:ea typeface="Menlo"/>
                <a:cs typeface="Menlo"/>
                <a:sym typeface="Menlo"/>
              </a:defRPr>
            </a:pPr>
            <a:endParaRPr lang="en-GB" sz="800" dirty="0" smtClean="0">
              <a:solidFill>
                <a:schemeClr val="tx1"/>
              </a:solidFill>
              <a:latin typeface="Source Sans Pro" panose="020B0503030403020204" pitchFamily="34" charset="0"/>
              <a:ea typeface="Source Sans Pro" panose="020B0503030403020204" pitchFamily="34" charset="0"/>
              <a:cs typeface="Courier New" panose="02070309020205020404" pitchFamily="49" charset="0"/>
              <a:sym typeface="Menlo"/>
            </a:endParaRPr>
          </a:p>
          <a:p>
            <a:pPr lvl="0" algn="l">
              <a:buClr>
                <a:srgbClr val="1D4BA8"/>
              </a:buClr>
              <a:defRPr sz="1000">
                <a:latin typeface="Menlo"/>
                <a:ea typeface="Menlo"/>
                <a:cs typeface="Menlo"/>
                <a:sym typeface="Menlo"/>
              </a:defRPr>
            </a:pPr>
            <a:r>
              <a:rPr lang="en-GB" sz="800" dirty="0" smtClean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Imputation logic is passed to </a:t>
            </a:r>
            <a:r>
              <a:rPr lang="en-GB" sz="800" dirty="0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cols</a:t>
            </a:r>
            <a:r>
              <a:rPr lang="en-GB" sz="800" dirty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 </a:t>
            </a:r>
            <a:r>
              <a:rPr lang="en-GB" sz="800" dirty="0" smtClean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or </a:t>
            </a:r>
            <a:r>
              <a:rPr lang="en-GB" sz="800" dirty="0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classes</a:t>
            </a:r>
            <a:r>
              <a:rPr lang="en-GB" sz="800" dirty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 </a:t>
            </a:r>
            <a:r>
              <a:rPr lang="en-GB" sz="800" dirty="0" smtClean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via a list, e.g.:</a:t>
            </a:r>
          </a:p>
          <a:p>
            <a:pPr lvl="0" algn="l">
              <a:buClr>
                <a:srgbClr val="1D4BA8"/>
              </a:buClr>
              <a:defRPr sz="1000">
                <a:latin typeface="Menlo"/>
                <a:ea typeface="Menlo"/>
                <a:cs typeface="Menlo"/>
                <a:sym typeface="Menlo"/>
              </a:defRPr>
            </a:pPr>
            <a:r>
              <a:rPr lang="en-GB" sz="800" dirty="0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cols=list(V1=</a:t>
            </a:r>
            <a:r>
              <a:rPr lang="en-GB" sz="800" dirty="0" err="1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imputeMean</a:t>
            </a:r>
            <a:r>
              <a:rPr lang="en-GB" sz="800" dirty="0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())</a:t>
            </a:r>
            <a:r>
              <a:rPr lang="en-GB" sz="800" dirty="0" smtClean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 where </a:t>
            </a:r>
            <a:r>
              <a:rPr lang="en-GB" sz="800" dirty="0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V1</a:t>
            </a:r>
            <a:r>
              <a:rPr lang="en-GB" sz="800" dirty="0" smtClean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 is the column to which to  apply the imputation, and </a:t>
            </a:r>
            <a:r>
              <a:rPr lang="en-GB" sz="800" dirty="0" err="1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imputeMean</a:t>
            </a:r>
            <a:r>
              <a:rPr lang="en-GB" sz="800" dirty="0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()</a:t>
            </a:r>
            <a:r>
              <a:rPr lang="en-GB" sz="800" dirty="0" smtClean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 is the imputation method. Available imputation methods include: </a:t>
            </a:r>
            <a:r>
              <a:rPr lang="en-GB" sz="800" dirty="0" err="1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imputeConst</a:t>
            </a:r>
            <a:r>
              <a:rPr lang="en-GB" sz="800" dirty="0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(</a:t>
            </a:r>
            <a:r>
              <a:rPr lang="en-GB" sz="800" dirty="0" err="1" smtClean="0">
                <a:solidFill>
                  <a:schemeClr val="tx1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const</a:t>
            </a:r>
            <a:r>
              <a:rPr lang="en-GB" sz="800" dirty="0" smtClean="0">
                <a:solidFill>
                  <a:schemeClr val="tx1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=</a:t>
            </a:r>
            <a:r>
              <a:rPr lang="en-GB" sz="800" dirty="0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) </a:t>
            </a:r>
            <a:r>
              <a:rPr lang="en-GB" sz="800" dirty="0" err="1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imputeMedian</a:t>
            </a:r>
            <a:r>
              <a:rPr lang="en-GB" sz="800" dirty="0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() </a:t>
            </a:r>
            <a:r>
              <a:rPr lang="en-GB" sz="800" dirty="0" err="1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imputeMode</a:t>
            </a:r>
            <a:r>
              <a:rPr lang="en-GB" sz="800" dirty="0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() </a:t>
            </a:r>
            <a:r>
              <a:rPr lang="en-GB" sz="800" dirty="0" err="1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imputeMin</a:t>
            </a:r>
            <a:r>
              <a:rPr lang="en-GB" sz="800" dirty="0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(</a:t>
            </a:r>
            <a:r>
              <a:rPr lang="en-GB" sz="800" dirty="0" smtClean="0">
                <a:solidFill>
                  <a:schemeClr val="tx1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multiplier=</a:t>
            </a:r>
            <a:r>
              <a:rPr lang="en-GB" sz="800" dirty="0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) </a:t>
            </a:r>
            <a:r>
              <a:rPr lang="en-GB" sz="800" dirty="0" err="1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imputeMax</a:t>
            </a:r>
            <a:r>
              <a:rPr lang="en-GB" sz="800" dirty="0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(</a:t>
            </a:r>
            <a:r>
              <a:rPr lang="en-GB" sz="800" dirty="0" smtClean="0">
                <a:solidFill>
                  <a:schemeClr val="tx1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multiplier=</a:t>
            </a:r>
            <a:r>
              <a:rPr lang="en-GB" sz="800" dirty="0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) </a:t>
            </a:r>
            <a:r>
              <a:rPr lang="en-GB" sz="800" dirty="0" err="1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imputeNormal</a:t>
            </a:r>
            <a:r>
              <a:rPr lang="en-GB" sz="800" dirty="0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(</a:t>
            </a:r>
            <a:r>
              <a:rPr lang="en-GB" sz="800" dirty="0" smtClean="0">
                <a:solidFill>
                  <a:schemeClr val="tx1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mean=</a:t>
            </a:r>
            <a:r>
              <a:rPr lang="en-GB" sz="800" dirty="0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,</a:t>
            </a:r>
            <a:r>
              <a:rPr lang="en-GB" sz="800" dirty="0" err="1" smtClean="0">
                <a:solidFill>
                  <a:schemeClr val="tx1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sd</a:t>
            </a:r>
            <a:r>
              <a:rPr lang="en-GB" sz="800" dirty="0" smtClean="0">
                <a:solidFill>
                  <a:schemeClr val="tx1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=</a:t>
            </a:r>
            <a:r>
              <a:rPr lang="en-GB" sz="800" dirty="0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) </a:t>
            </a:r>
            <a:r>
              <a:rPr lang="en-GB" sz="800" dirty="0" err="1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imputeHist</a:t>
            </a:r>
            <a:r>
              <a:rPr lang="en-GB" sz="800" dirty="0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(</a:t>
            </a:r>
            <a:r>
              <a:rPr lang="en-GB" sz="800" dirty="0" smtClean="0">
                <a:solidFill>
                  <a:schemeClr val="tx1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breaks=,</a:t>
            </a:r>
            <a:r>
              <a:rPr lang="en-GB" sz="800" dirty="0" err="1" smtClean="0">
                <a:solidFill>
                  <a:schemeClr val="tx1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use.mids</a:t>
            </a:r>
            <a:r>
              <a:rPr lang="en-GB" sz="800" dirty="0" smtClean="0">
                <a:solidFill>
                  <a:schemeClr val="tx1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=</a:t>
            </a:r>
            <a:r>
              <a:rPr lang="en-GB" sz="800" dirty="0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) </a:t>
            </a:r>
            <a:r>
              <a:rPr lang="en-GB" sz="800" dirty="0" err="1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imputeLearner</a:t>
            </a:r>
            <a:r>
              <a:rPr lang="en-GB" sz="800" dirty="0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(</a:t>
            </a:r>
            <a:r>
              <a:rPr lang="en-GB" sz="800" dirty="0" smtClean="0">
                <a:solidFill>
                  <a:schemeClr val="tx1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learner=,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features=</a:t>
            </a:r>
            <a:r>
              <a:rPr lang="en-GB" sz="800" dirty="0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)</a:t>
            </a:r>
          </a:p>
          <a:p>
            <a:pPr lvl="0" algn="l">
              <a:buClr>
                <a:srgbClr val="1D4BA8"/>
              </a:buClr>
              <a:defRPr sz="1000">
                <a:latin typeface="Menlo"/>
                <a:ea typeface="Menlo"/>
                <a:cs typeface="Menlo"/>
                <a:sym typeface="Menlo"/>
              </a:defRPr>
            </a:pPr>
            <a:r>
              <a:rPr lang="en-GB" sz="800" dirty="0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impute</a:t>
            </a:r>
            <a:r>
              <a:rPr lang="en-GB" sz="800" dirty="0" smtClean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 returns a list containing the imputed dataset or task as well as an imputation description that can be used to reapply the same imputation to new data using </a:t>
            </a:r>
            <a:r>
              <a:rPr lang="en-GB" sz="800" dirty="0" err="1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reimpute</a:t>
            </a:r>
            <a:endParaRPr lang="en-GB" sz="800" dirty="0">
              <a:solidFill>
                <a:srgbClr val="0070C0"/>
              </a:solidFill>
              <a:latin typeface="Consolas" panose="020B0609020204030204" pitchFamily="49" charset="0"/>
              <a:ea typeface="Source Sans Pro" panose="020B0503030403020204" pitchFamily="34" charset="0"/>
              <a:cs typeface="Courier New" panose="02070309020205020404" pitchFamily="49" charset="0"/>
              <a:sym typeface="Menlo"/>
            </a:endParaRPr>
          </a:p>
          <a:p>
            <a:pPr lvl="0" algn="l">
              <a:buClr>
                <a:srgbClr val="1D4BA8"/>
              </a:buClr>
              <a:defRPr sz="1000">
                <a:latin typeface="Menlo"/>
                <a:ea typeface="Menlo"/>
                <a:cs typeface="Menlo"/>
                <a:sym typeface="Menlo"/>
              </a:defRPr>
            </a:pPr>
            <a:endParaRPr lang="en-GB" sz="800" dirty="0" smtClean="0">
              <a:solidFill>
                <a:srgbClr val="0070C0"/>
              </a:solidFill>
              <a:latin typeface="Consolas" panose="020B0609020204030204" pitchFamily="49" charset="0"/>
              <a:ea typeface="Source Sans Pro" panose="020B0503030403020204" pitchFamily="34" charset="0"/>
              <a:cs typeface="Courier New" panose="02070309020205020404" pitchFamily="49" charset="0"/>
              <a:sym typeface="Menlo"/>
            </a:endParaRPr>
          </a:p>
          <a:p>
            <a:pPr lvl="0" algn="l">
              <a:buClr>
                <a:srgbClr val="1D4BA8"/>
              </a:buClr>
              <a:defRPr sz="1000">
                <a:latin typeface="Menlo"/>
                <a:ea typeface="Menlo"/>
                <a:cs typeface="Menlo"/>
                <a:sym typeface="Menlo"/>
              </a:defRPr>
            </a:pPr>
            <a:r>
              <a:rPr lang="en-GB" sz="800" dirty="0" err="1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reimpute</a:t>
            </a:r>
            <a:r>
              <a:rPr lang="en-GB" sz="800" dirty="0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(</a:t>
            </a:r>
            <a:r>
              <a:rPr lang="en-GB" sz="800" dirty="0" err="1" smtClean="0">
                <a:solidFill>
                  <a:schemeClr val="tx1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obj</a:t>
            </a:r>
            <a:r>
              <a:rPr lang="en-GB" sz="800" dirty="0" smtClean="0">
                <a:solidFill>
                  <a:schemeClr val="tx1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=,</a:t>
            </a:r>
            <a:r>
              <a:rPr lang="en-GB" sz="800" dirty="0" err="1" smtClean="0">
                <a:solidFill>
                  <a:schemeClr val="tx1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desc</a:t>
            </a:r>
            <a:r>
              <a:rPr lang="en-GB" sz="800" dirty="0" smtClean="0">
                <a:solidFill>
                  <a:schemeClr val="tx1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=</a:t>
            </a:r>
            <a:r>
              <a:rPr lang="en-GB" sz="800" dirty="0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)</a:t>
            </a:r>
            <a:r>
              <a:rPr lang="en-GB" sz="800" dirty="0" smtClean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 Imputes missing values on a task or dataset (</a:t>
            </a:r>
            <a:r>
              <a:rPr lang="en-GB" sz="800" dirty="0" err="1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obj</a:t>
            </a:r>
            <a:r>
              <a:rPr lang="en-GB" sz="800" dirty="0" smtClean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) using a description (</a:t>
            </a:r>
            <a:r>
              <a:rPr lang="en-GB" sz="800" dirty="0" err="1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desc</a:t>
            </a:r>
            <a:r>
              <a:rPr lang="en-GB" sz="800" dirty="0" smtClean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) created by </a:t>
            </a:r>
            <a:r>
              <a:rPr lang="en-GB" sz="800" dirty="0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impute</a:t>
            </a:r>
            <a:endParaRPr lang="en-GB" sz="800" dirty="0">
              <a:solidFill>
                <a:srgbClr val="0070C0"/>
              </a:solidFill>
              <a:latin typeface="Consolas" panose="020B0609020204030204" pitchFamily="49" charset="0"/>
              <a:ea typeface="Source Sans Pro" panose="020B0503030403020204" pitchFamily="34" charset="0"/>
              <a:cs typeface="Courier New" panose="02070309020205020404" pitchFamily="49" charset="0"/>
              <a:sym typeface="Menlo"/>
            </a:endParaRPr>
          </a:p>
        </p:txBody>
      </p:sp>
      <p:sp>
        <p:nvSpPr>
          <p:cNvPr id="34" name="Shape 38"/>
          <p:cNvSpPr/>
          <p:nvPr/>
        </p:nvSpPr>
        <p:spPr>
          <a:xfrm>
            <a:off x="252130" y="6725837"/>
            <a:ext cx="3263902" cy="337903"/>
          </a:xfrm>
          <a:prstGeom prst="roundRect">
            <a:avLst>
              <a:gd name="adj" fmla="val 20098"/>
            </a:avLst>
          </a:prstGeom>
          <a:solidFill>
            <a:srgbClr val="1D4BA8"/>
          </a:solidFill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 anchor="ctr"/>
          <a:lstStyle/>
          <a:p>
            <a:pPr lvl="1" indent="0">
              <a:defRPr sz="1800"/>
            </a:pPr>
            <a:r>
              <a:rPr lang="en-GB" sz="2000" dirty="0" smtClean="0">
                <a:solidFill>
                  <a:srgbClr val="FFFFFF"/>
                </a:solidFill>
                <a:latin typeface="Arial" panose="020B0604020202020204" pitchFamily="34" charset="0"/>
                <a:ea typeface="Source Sans Pro"/>
                <a:cs typeface="Arial" panose="020B0604020202020204" pitchFamily="34" charset="0"/>
                <a:sym typeface="Source Sans Pro"/>
              </a:rPr>
              <a:t>Imputation</a:t>
            </a:r>
            <a:endParaRPr sz="2000" dirty="0">
              <a:solidFill>
                <a:srgbClr val="FFFFFF"/>
              </a:solidFill>
              <a:latin typeface="Arial" panose="020B0604020202020204" pitchFamily="34" charset="0"/>
              <a:ea typeface="Source Sans Pro"/>
              <a:cs typeface="Arial" panose="020B0604020202020204" pitchFamily="34" charset="0"/>
              <a:sym typeface="Source Sans Pro"/>
            </a:endParaRPr>
          </a:p>
        </p:txBody>
      </p:sp>
      <p:grpSp>
        <p:nvGrpSpPr>
          <p:cNvPr id="82" name="Group 81"/>
          <p:cNvGrpSpPr/>
          <p:nvPr/>
        </p:nvGrpSpPr>
        <p:grpSpPr>
          <a:xfrm>
            <a:off x="7318375" y="4545162"/>
            <a:ext cx="697840" cy="365319"/>
            <a:chOff x="7348438" y="2781300"/>
            <a:chExt cx="897141" cy="528898"/>
          </a:xfrm>
        </p:grpSpPr>
        <p:sp>
          <p:nvSpPr>
            <p:cNvPr id="74" name="Rectangle 73"/>
            <p:cNvSpPr/>
            <p:nvPr/>
          </p:nvSpPr>
          <p:spPr>
            <a:xfrm>
              <a:off x="7348438" y="2781300"/>
              <a:ext cx="102493" cy="52889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no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75" name="Rectangle 74"/>
            <p:cNvSpPr/>
            <p:nvPr/>
          </p:nvSpPr>
          <p:spPr>
            <a:xfrm>
              <a:off x="7575480" y="3102768"/>
              <a:ext cx="102493" cy="207429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no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76" name="Rectangle 75"/>
            <p:cNvSpPr/>
            <p:nvPr/>
          </p:nvSpPr>
          <p:spPr>
            <a:xfrm>
              <a:off x="7802522" y="3152774"/>
              <a:ext cx="102493" cy="157423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no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77" name="Rectangle 76"/>
            <p:cNvSpPr/>
            <p:nvPr/>
          </p:nvSpPr>
          <p:spPr>
            <a:xfrm>
              <a:off x="8029564" y="3198018"/>
              <a:ext cx="102493" cy="112179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no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78" name="Rectangle 77"/>
            <p:cNvSpPr/>
            <p:nvPr/>
          </p:nvSpPr>
          <p:spPr>
            <a:xfrm>
              <a:off x="7461959" y="2950368"/>
              <a:ext cx="102493" cy="359829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no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79" name="Rectangle 78"/>
            <p:cNvSpPr/>
            <p:nvPr/>
          </p:nvSpPr>
          <p:spPr>
            <a:xfrm>
              <a:off x="7689001" y="3128962"/>
              <a:ext cx="102493" cy="181235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no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80" name="Rectangle 79"/>
            <p:cNvSpPr/>
            <p:nvPr/>
          </p:nvSpPr>
          <p:spPr>
            <a:xfrm>
              <a:off x="7916043" y="3171824"/>
              <a:ext cx="102493" cy="138373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no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81" name="Rectangle 80"/>
            <p:cNvSpPr/>
            <p:nvPr/>
          </p:nvSpPr>
          <p:spPr>
            <a:xfrm>
              <a:off x="8143086" y="3221830"/>
              <a:ext cx="102493" cy="88367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no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</p:grpSp>
      <p:grpSp>
        <p:nvGrpSpPr>
          <p:cNvPr id="123" name="Group 122"/>
          <p:cNvGrpSpPr/>
          <p:nvPr/>
        </p:nvGrpSpPr>
        <p:grpSpPr>
          <a:xfrm>
            <a:off x="7308007" y="7609284"/>
            <a:ext cx="639666" cy="335165"/>
            <a:chOff x="7379119" y="7553325"/>
            <a:chExt cx="820349" cy="519113"/>
          </a:xfrm>
        </p:grpSpPr>
        <p:cxnSp>
          <p:nvCxnSpPr>
            <p:cNvPr id="111" name="Straight Connector 110"/>
            <p:cNvCxnSpPr/>
            <p:nvPr/>
          </p:nvCxnSpPr>
          <p:spPr>
            <a:xfrm>
              <a:off x="7379119" y="7553325"/>
              <a:ext cx="70567" cy="25480"/>
            </a:xfrm>
            <a:prstGeom prst="line">
              <a:avLst/>
            </a:prstGeom>
            <a:noFill/>
            <a:ln w="25400" cap="flat">
              <a:solidFill>
                <a:srgbClr val="002060"/>
              </a:solidFill>
              <a:prstDash val="solid"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112" name="Straight Connector 111"/>
            <p:cNvCxnSpPr/>
            <p:nvPr/>
          </p:nvCxnSpPr>
          <p:spPr>
            <a:xfrm>
              <a:off x="7449686" y="7578805"/>
              <a:ext cx="152400" cy="152400"/>
            </a:xfrm>
            <a:prstGeom prst="line">
              <a:avLst/>
            </a:prstGeom>
            <a:noFill/>
            <a:ln w="25400" cap="flat">
              <a:solidFill>
                <a:srgbClr val="002060"/>
              </a:solidFill>
              <a:prstDash val="solid"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114" name="Straight Connector 113"/>
            <p:cNvCxnSpPr/>
            <p:nvPr/>
          </p:nvCxnSpPr>
          <p:spPr>
            <a:xfrm>
              <a:off x="7602086" y="7731205"/>
              <a:ext cx="189408" cy="57198"/>
            </a:xfrm>
            <a:prstGeom prst="line">
              <a:avLst/>
            </a:prstGeom>
            <a:noFill/>
            <a:ln w="25400" cap="flat">
              <a:solidFill>
                <a:srgbClr val="002060"/>
              </a:solidFill>
              <a:prstDash val="solid"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116" name="Straight Connector 115"/>
            <p:cNvCxnSpPr/>
            <p:nvPr/>
          </p:nvCxnSpPr>
          <p:spPr>
            <a:xfrm>
              <a:off x="7777283" y="7787632"/>
              <a:ext cx="234484" cy="26977"/>
            </a:xfrm>
            <a:prstGeom prst="line">
              <a:avLst/>
            </a:prstGeom>
            <a:noFill/>
            <a:ln w="25400" cap="flat">
              <a:solidFill>
                <a:srgbClr val="002060"/>
              </a:solidFill>
              <a:prstDash val="solid"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118" name="Straight Connector 117"/>
            <p:cNvCxnSpPr/>
            <p:nvPr/>
          </p:nvCxnSpPr>
          <p:spPr>
            <a:xfrm>
              <a:off x="8004326" y="7814609"/>
              <a:ext cx="131991" cy="131622"/>
            </a:xfrm>
            <a:prstGeom prst="line">
              <a:avLst/>
            </a:prstGeom>
            <a:noFill/>
            <a:ln w="25400" cap="flat">
              <a:solidFill>
                <a:srgbClr val="002060"/>
              </a:solidFill>
              <a:prstDash val="solid"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120" name="Straight Connector 119"/>
            <p:cNvCxnSpPr/>
            <p:nvPr/>
          </p:nvCxnSpPr>
          <p:spPr>
            <a:xfrm>
              <a:off x="8137193" y="7941469"/>
              <a:ext cx="62275" cy="130969"/>
            </a:xfrm>
            <a:prstGeom prst="line">
              <a:avLst/>
            </a:prstGeom>
            <a:noFill/>
            <a:ln w="25400" cap="flat">
              <a:solidFill>
                <a:srgbClr val="002060"/>
              </a:solidFill>
              <a:prstDash val="solid"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</p:grpSp>
      <p:grpSp>
        <p:nvGrpSpPr>
          <p:cNvPr id="127" name="Group 126"/>
          <p:cNvGrpSpPr/>
          <p:nvPr/>
        </p:nvGrpSpPr>
        <p:grpSpPr>
          <a:xfrm>
            <a:off x="10485961" y="256192"/>
            <a:ext cx="3275674" cy="6667122"/>
            <a:chOff x="10485961" y="256192"/>
            <a:chExt cx="3275674" cy="10033933"/>
          </a:xfrm>
        </p:grpSpPr>
        <p:grpSp>
          <p:nvGrpSpPr>
            <p:cNvPr id="11" name="Gruppieren 16"/>
            <p:cNvGrpSpPr/>
            <p:nvPr/>
          </p:nvGrpSpPr>
          <p:grpSpPr>
            <a:xfrm>
              <a:off x="10485961" y="256192"/>
              <a:ext cx="3275674" cy="10033933"/>
              <a:chOff x="3658404" y="723064"/>
              <a:chExt cx="3275674" cy="9513613"/>
            </a:xfrm>
          </p:grpSpPr>
          <p:sp>
            <p:nvSpPr>
              <p:cNvPr id="12" name="Rechteck 71"/>
              <p:cNvSpPr/>
              <p:nvPr/>
            </p:nvSpPr>
            <p:spPr>
              <a:xfrm>
                <a:off x="3670176" y="825103"/>
                <a:ext cx="3263902" cy="9411574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12700" cap="flat">
                <a:noFill/>
                <a:miter lim="400000"/>
              </a:ln>
              <a:effectLst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54570" tIns="54570" rIns="54570" bIns="54570" numCol="1" spcCol="38100" rtlCol="0" anchor="ctr">
                <a:noAutofit/>
              </a:bodyPr>
              <a:lstStyle/>
              <a:p>
                <a:pPr marL="0" marR="0" indent="0" algn="ctr" defTabSz="584200" rtl="0" fontAlgn="auto" latinLnBrk="1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de-DE" sz="2600" b="0" i="0" u="none" strike="noStrike" cap="none" spc="0" normalizeH="0" baseline="0" dirty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Light"/>
                </a:endParaRPr>
              </a:p>
              <a:p>
                <a:pPr marL="0" marR="0" indent="0" algn="ctr" defTabSz="584200" rtl="0" fontAlgn="auto" latinLnBrk="1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lang="de-DE" sz="2600" dirty="0">
                  <a:solidFill>
                    <a:srgbClr val="FFFFFF"/>
                  </a:solidFill>
                </a:endParaRPr>
              </a:p>
              <a:p>
                <a:pPr marL="0" marR="0" indent="0" algn="ctr" defTabSz="584200" rtl="0" fontAlgn="auto" latinLnBrk="1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de-DE" sz="2600" b="0" i="0" u="none" strike="noStrike" cap="none" spc="0" normalizeH="0" baseline="0" dirty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Light"/>
                </a:endParaRPr>
              </a:p>
              <a:p>
                <a:pPr marL="0" marR="0" indent="0" algn="ctr" defTabSz="584200" rtl="0" fontAlgn="auto" latinLnBrk="1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lang="de-DE" sz="2600" dirty="0">
                  <a:solidFill>
                    <a:srgbClr val="FFFFFF"/>
                  </a:solidFill>
                </a:endParaRPr>
              </a:p>
              <a:p>
                <a:pPr marL="0" marR="0" indent="0" algn="ctr" defTabSz="584200" rtl="0" fontAlgn="auto" latinLnBrk="1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de-DE" sz="2600" b="0" i="0" u="none" strike="noStrike" cap="none" spc="0" normalizeH="0" baseline="0" dirty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Light"/>
                </a:endParaRPr>
              </a:p>
              <a:p>
                <a:pPr marL="0" marR="0" indent="0" algn="ctr" defTabSz="584200" rtl="0" fontAlgn="auto" latinLnBrk="1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lang="de-DE" sz="2600" dirty="0">
                  <a:solidFill>
                    <a:srgbClr val="FFFFFF"/>
                  </a:solidFill>
                </a:endParaRPr>
              </a:p>
              <a:p>
                <a:pPr marL="0" marR="0" indent="0" algn="ctr" defTabSz="584200" rtl="0" fontAlgn="auto" latinLnBrk="1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de-DE" sz="2600" b="0" i="0" u="none" strike="noStrike" cap="none" spc="0" normalizeH="0" baseline="0" dirty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Light"/>
                </a:endParaRPr>
              </a:p>
              <a:p>
                <a:pPr marL="0" marR="0" indent="0" algn="ctr" defTabSz="584200" rtl="0" fontAlgn="auto" latinLnBrk="1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lang="de-DE" sz="2600" dirty="0">
                  <a:solidFill>
                    <a:srgbClr val="FFFFFF"/>
                  </a:solidFill>
                </a:endParaRPr>
              </a:p>
              <a:p>
                <a:pPr marL="0" marR="0" indent="0" algn="ctr" defTabSz="584200" rtl="0" fontAlgn="auto" latinLnBrk="1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de-DE" sz="2600" b="0" i="0" u="none" strike="noStrike" cap="none" spc="0" normalizeH="0" baseline="0" dirty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Light"/>
                </a:endParaRPr>
              </a:p>
              <a:p>
                <a:pPr marL="0" marR="0" indent="0" algn="ctr" defTabSz="584200" rtl="0" fontAlgn="auto" latinLnBrk="1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lang="de-DE" sz="2600" dirty="0">
                  <a:solidFill>
                    <a:srgbClr val="FFFFFF"/>
                  </a:solidFill>
                </a:endParaRPr>
              </a:p>
              <a:p>
                <a:pPr marL="0" marR="0" indent="0" algn="ctr" defTabSz="584200" rtl="0" fontAlgn="auto" latinLnBrk="1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de-DE" sz="2600" b="0" i="0" u="none" strike="noStrike" cap="none" spc="0" normalizeH="0" baseline="0" dirty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Light"/>
                </a:endParaRPr>
              </a:p>
            </p:txBody>
          </p:sp>
          <p:sp>
            <p:nvSpPr>
              <p:cNvPr id="13" name="Shape 38"/>
              <p:cNvSpPr/>
              <p:nvPr/>
            </p:nvSpPr>
            <p:spPr>
              <a:xfrm>
                <a:off x="3658404" y="723064"/>
                <a:ext cx="3263902" cy="482169"/>
              </a:xfrm>
              <a:prstGeom prst="roundRect">
                <a:avLst>
                  <a:gd name="adj" fmla="val 20098"/>
                </a:avLst>
              </a:prstGeom>
              <a:solidFill>
                <a:srgbClr val="1D4BA8"/>
              </a:solidFill>
              <a:ln w="12700">
                <a:miter lim="400000"/>
              </a:ln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lIns="0" tIns="0" rIns="0" bIns="0" anchor="ctr"/>
              <a:lstStyle/>
              <a:p>
                <a:pPr lvl="1" indent="0">
                  <a:defRPr sz="1800"/>
                </a:pPr>
                <a:r>
                  <a:rPr lang="en-GB" sz="2000" dirty="0" smtClean="0">
                    <a:solidFill>
                      <a:srgbClr val="FFFFFF"/>
                    </a:solidFill>
                    <a:latin typeface="Arial" panose="020B0604020202020204" pitchFamily="34" charset="0"/>
                    <a:ea typeface="Source Sans Pro"/>
                    <a:cs typeface="Arial" panose="020B0604020202020204" pitchFamily="34" charset="0"/>
                    <a:sym typeface="Source Sans Pro"/>
                  </a:rPr>
                  <a:t>Wrappers</a:t>
                </a:r>
                <a:endParaRPr sz="2000" dirty="0">
                  <a:solidFill>
                    <a:srgbClr val="FFFFFF"/>
                  </a:solidFill>
                  <a:latin typeface="Arial" panose="020B0604020202020204" pitchFamily="34" charset="0"/>
                  <a:ea typeface="Source Sans Pro"/>
                  <a:cs typeface="Arial" panose="020B0604020202020204" pitchFamily="34" charset="0"/>
                  <a:sym typeface="Source Sans Pro"/>
                </a:endParaRPr>
              </a:p>
            </p:txBody>
          </p:sp>
          <p:sp>
            <p:nvSpPr>
              <p:cNvPr id="14" name="Abgerundetes Rechteck 73"/>
              <p:cNvSpPr/>
              <p:nvPr/>
            </p:nvSpPr>
            <p:spPr>
              <a:xfrm>
                <a:off x="3809898" y="1468514"/>
                <a:ext cx="2960914" cy="8560256"/>
              </a:xfrm>
              <a:prstGeom prst="roundRect">
                <a:avLst>
                  <a:gd name="adj" fmla="val 4902"/>
                </a:avLst>
              </a:prstGeom>
              <a:solidFill>
                <a:schemeClr val="bg1"/>
              </a:solidFill>
              <a:ln w="12700" cap="flat">
                <a:noFill/>
                <a:miter lim="400000"/>
              </a:ln>
              <a:effectLst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54570" tIns="0" rIns="54570" bIns="0" numCol="1" spcCol="38100" rtlCol="0" anchor="t">
                <a:noAutofit/>
              </a:bodyPr>
              <a:lstStyle/>
              <a:p>
                <a:pPr marL="971550" lvl="0" algn="l">
                  <a:buClr>
                    <a:srgbClr val="1D4BA8"/>
                  </a:buClr>
                  <a:defRPr sz="1000">
                    <a:latin typeface="Menlo"/>
                    <a:ea typeface="Menlo"/>
                    <a:cs typeface="Menlo"/>
                    <a:sym typeface="Menlo"/>
                  </a:defRPr>
                </a:pPr>
                <a:r>
                  <a:rPr lang="en-GB" sz="800" b="1" dirty="0" smtClean="0">
                    <a:solidFill>
                      <a:schemeClr val="tx1"/>
                    </a:solidFill>
                    <a:latin typeface="Source Sans Pro" panose="020B0503030403020204" pitchFamily="34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Wrappers</a:t>
                </a:r>
                <a:r>
                  <a:rPr lang="en-GB" sz="800" dirty="0" smtClean="0">
                    <a:solidFill>
                      <a:schemeClr val="tx1"/>
                    </a:solidFill>
                    <a:latin typeface="Source Sans Pro" panose="020B0503030403020204" pitchFamily="34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 fuse a learner with additional functionality. </a:t>
                </a:r>
                <a:r>
                  <a:rPr lang="en-GB" sz="800" dirty="0" err="1" smtClean="0">
                    <a:solidFill>
                      <a:schemeClr val="tx1"/>
                    </a:solidFill>
                    <a:latin typeface="Source Sans Pro" panose="020B0503030403020204" pitchFamily="34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mlr</a:t>
                </a:r>
                <a:r>
                  <a:rPr lang="en-GB" sz="800" dirty="0" smtClean="0">
                    <a:solidFill>
                      <a:schemeClr val="tx1"/>
                    </a:solidFill>
                    <a:latin typeface="Source Sans Pro" panose="020B0503030403020204" pitchFamily="34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 treats a learner with wrappers as a single learner, and </a:t>
                </a:r>
                <a:r>
                  <a:rPr lang="en-GB" sz="800" dirty="0" err="1" smtClean="0">
                    <a:solidFill>
                      <a:schemeClr val="tx1"/>
                    </a:solidFill>
                    <a:latin typeface="Source Sans Pro" panose="020B0503030403020204" pitchFamily="34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hyperparameters</a:t>
                </a:r>
                <a:r>
                  <a:rPr lang="en-GB" sz="800" dirty="0" smtClean="0">
                    <a:solidFill>
                      <a:schemeClr val="tx1"/>
                    </a:solidFill>
                    <a:latin typeface="Source Sans Pro" panose="020B0503030403020204" pitchFamily="34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 of wrappers can be tuned jointly with underlying model parameters. Models trained with wrappers will apply them to new data.</a:t>
                </a:r>
              </a:p>
              <a:p>
                <a:pPr marL="971550" lvl="0" algn="l">
                  <a:buClr>
                    <a:srgbClr val="1D4BA8"/>
                  </a:buClr>
                  <a:defRPr sz="1000">
                    <a:latin typeface="Menlo"/>
                    <a:ea typeface="Menlo"/>
                    <a:cs typeface="Menlo"/>
                    <a:sym typeface="Menlo"/>
                  </a:defRPr>
                </a:pPr>
                <a:endParaRPr lang="en-GB" sz="800" dirty="0" smtClean="0">
                  <a:solidFill>
                    <a:schemeClr val="tx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endParaRPr>
              </a:p>
              <a:p>
                <a:pPr lvl="0">
                  <a:buClr>
                    <a:srgbClr val="1D4BA8"/>
                  </a:buClr>
                  <a:defRPr sz="1000">
                    <a:latin typeface="Menlo"/>
                    <a:ea typeface="Menlo"/>
                    <a:cs typeface="Menlo"/>
                    <a:sym typeface="Menlo"/>
                  </a:defRPr>
                </a:pPr>
                <a:r>
                  <a:rPr lang="en-GB" sz="1600" b="1" dirty="0" err="1" smtClean="0">
                    <a:solidFill>
                      <a:schemeClr val="bg1">
                        <a:lumMod val="65000"/>
                      </a:schemeClr>
                    </a:solidFill>
                    <a:latin typeface="Source Sans Pro" panose="020B0503030403020204" pitchFamily="34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Preprocessing</a:t>
                </a:r>
                <a:r>
                  <a:rPr lang="en-GB" sz="1600" b="1" dirty="0" smtClean="0">
                    <a:solidFill>
                      <a:schemeClr val="bg1">
                        <a:lumMod val="65000"/>
                      </a:schemeClr>
                    </a:solidFill>
                    <a:latin typeface="Source Sans Pro" panose="020B0503030403020204" pitchFamily="34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 and imputation</a:t>
                </a:r>
              </a:p>
              <a:p>
                <a:pPr lvl="0" algn="l">
                  <a:buClr>
                    <a:srgbClr val="1D4BA8"/>
                  </a:buClr>
                  <a:defRPr sz="1000">
                    <a:latin typeface="Menlo"/>
                    <a:ea typeface="Menlo"/>
                    <a:cs typeface="Menlo"/>
                    <a:sym typeface="Menlo"/>
                  </a:defRPr>
                </a:pPr>
                <a:r>
                  <a:rPr lang="en-GB" sz="800" dirty="0" err="1" smtClean="0">
                    <a:solidFill>
                      <a:srgbClr val="0070C0"/>
                    </a:solidFill>
                    <a:latin typeface="Consolas" panose="020B0609020204030204" pitchFamily="49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makeDummyFeaturesWrapper</a:t>
                </a:r>
                <a:r>
                  <a:rPr lang="en-GB" sz="800" dirty="0" smtClean="0">
                    <a:solidFill>
                      <a:srgbClr val="0070C0"/>
                    </a:solidFill>
                    <a:latin typeface="Consolas" panose="020B0609020204030204" pitchFamily="49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(</a:t>
                </a:r>
                <a:r>
                  <a:rPr lang="en-GB" sz="800" dirty="0" smtClean="0">
                    <a:solidFill>
                      <a:schemeClr val="tx1"/>
                    </a:solidFill>
                    <a:latin typeface="Consolas" panose="020B0609020204030204" pitchFamily="49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learner=</a:t>
                </a:r>
                <a:r>
                  <a:rPr lang="en-GB" sz="800" dirty="0" smtClean="0">
                    <a:solidFill>
                      <a:srgbClr val="0070C0"/>
                    </a:solidFill>
                    <a:latin typeface="Consolas" panose="020B0609020204030204" pitchFamily="49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)</a:t>
                </a:r>
              </a:p>
              <a:p>
                <a:pPr lvl="0" algn="l">
                  <a:buClr>
                    <a:srgbClr val="1D4BA8"/>
                  </a:buClr>
                  <a:defRPr sz="1000">
                    <a:latin typeface="Menlo"/>
                    <a:ea typeface="Menlo"/>
                    <a:cs typeface="Menlo"/>
                    <a:sym typeface="Menlo"/>
                  </a:defRPr>
                </a:pPr>
                <a:r>
                  <a:rPr lang="en-GB" sz="800" dirty="0" err="1" smtClean="0">
                    <a:solidFill>
                      <a:srgbClr val="0070C0"/>
                    </a:solidFill>
                    <a:latin typeface="Consolas" panose="020B0609020204030204" pitchFamily="49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makeImputeWrapper</a:t>
                </a:r>
                <a:r>
                  <a:rPr lang="en-GB" sz="800" dirty="0" smtClean="0">
                    <a:solidFill>
                      <a:srgbClr val="0070C0"/>
                    </a:solidFill>
                    <a:latin typeface="Consolas" panose="020B0609020204030204" pitchFamily="49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(</a:t>
                </a:r>
                <a:r>
                  <a:rPr lang="en-GB" sz="800" dirty="0" smtClean="0">
                    <a:solidFill>
                      <a:schemeClr val="tx1"/>
                    </a:solidFill>
                    <a:latin typeface="Consolas" panose="020B0609020204030204" pitchFamily="49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learner=,classes=,cols=</a:t>
                </a:r>
                <a:r>
                  <a:rPr lang="en-GB" sz="800" dirty="0" smtClean="0">
                    <a:solidFill>
                      <a:srgbClr val="0070C0"/>
                    </a:solidFill>
                    <a:latin typeface="Consolas" panose="020B0609020204030204" pitchFamily="49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)</a:t>
                </a:r>
              </a:p>
              <a:p>
                <a:pPr lvl="0" algn="l">
                  <a:buClr>
                    <a:srgbClr val="1D4BA8"/>
                  </a:buClr>
                  <a:defRPr sz="1000">
                    <a:latin typeface="Menlo"/>
                    <a:ea typeface="Menlo"/>
                    <a:cs typeface="Menlo"/>
                    <a:sym typeface="Menlo"/>
                  </a:defRPr>
                </a:pPr>
                <a:r>
                  <a:rPr lang="en-GB" sz="800" dirty="0" err="1" smtClean="0">
                    <a:solidFill>
                      <a:schemeClr val="accent1"/>
                    </a:solidFill>
                    <a:latin typeface="Consolas" panose="020B0609020204030204" pitchFamily="49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makePreprocWrapper</a:t>
                </a:r>
                <a:r>
                  <a:rPr lang="en-GB" sz="800" dirty="0" smtClean="0">
                    <a:solidFill>
                      <a:schemeClr val="accent1"/>
                    </a:solidFill>
                    <a:latin typeface="Consolas" panose="020B0609020204030204" pitchFamily="49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(</a:t>
                </a:r>
                <a:r>
                  <a:rPr lang="en-GB" sz="800" dirty="0" smtClean="0">
                    <a:solidFill>
                      <a:schemeClr val="tx1"/>
                    </a:solidFill>
                    <a:latin typeface="Consolas" panose="020B0609020204030204" pitchFamily="49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learner=,train=,predict=</a:t>
                </a:r>
                <a:r>
                  <a:rPr lang="en-GB" sz="800" dirty="0" smtClean="0">
                    <a:solidFill>
                      <a:srgbClr val="0070C0"/>
                    </a:solidFill>
                    <a:latin typeface="Consolas" panose="020B0609020204030204" pitchFamily="49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) </a:t>
                </a:r>
              </a:p>
              <a:p>
                <a:pPr lvl="0" algn="l">
                  <a:buClr>
                    <a:srgbClr val="1D4BA8"/>
                  </a:buClr>
                  <a:defRPr sz="1000">
                    <a:latin typeface="Menlo"/>
                    <a:ea typeface="Menlo"/>
                    <a:cs typeface="Menlo"/>
                    <a:sym typeface="Menlo"/>
                  </a:defRPr>
                </a:pPr>
                <a:r>
                  <a:rPr lang="en-GB" sz="800" dirty="0" err="1" smtClean="0">
                    <a:solidFill>
                      <a:schemeClr val="accent1"/>
                    </a:solidFill>
                    <a:latin typeface="Consolas" panose="020B0609020204030204" pitchFamily="49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makePreprocWrapperCaret</a:t>
                </a:r>
                <a:r>
                  <a:rPr lang="en-GB" sz="800" dirty="0" smtClean="0">
                    <a:solidFill>
                      <a:schemeClr val="accent1"/>
                    </a:solidFill>
                    <a:latin typeface="Consolas" panose="020B0609020204030204" pitchFamily="49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(</a:t>
                </a:r>
                <a:r>
                  <a:rPr lang="en-GB" sz="800" dirty="0" smtClean="0">
                    <a:solidFill>
                      <a:schemeClr val="tx1"/>
                    </a:solidFill>
                    <a:latin typeface="Consolas" panose="020B0609020204030204" pitchFamily="49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learner=,</a:t>
                </a:r>
                <a:r>
                  <a:rPr lang="en-GB" sz="800" dirty="0" smtClean="0">
                    <a:solidFill>
                      <a:schemeClr val="bg1">
                        <a:lumMod val="65000"/>
                      </a:schemeClr>
                    </a:solidFill>
                    <a:latin typeface="Consolas" panose="020B0609020204030204" pitchFamily="49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...</a:t>
                </a:r>
                <a:r>
                  <a:rPr lang="en-GB" sz="800" dirty="0" smtClean="0">
                    <a:solidFill>
                      <a:srgbClr val="0070C0"/>
                    </a:solidFill>
                    <a:latin typeface="Consolas" panose="020B0609020204030204" pitchFamily="49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)</a:t>
                </a:r>
              </a:p>
              <a:p>
                <a:pPr lvl="0" algn="l">
                  <a:buClr>
                    <a:srgbClr val="1D4BA8"/>
                  </a:buClr>
                  <a:defRPr sz="1000">
                    <a:latin typeface="Menlo"/>
                    <a:ea typeface="Menlo"/>
                    <a:cs typeface="Menlo"/>
                    <a:sym typeface="Menlo"/>
                  </a:defRPr>
                </a:pPr>
                <a:r>
                  <a:rPr lang="en-GB" sz="800" dirty="0" err="1" smtClean="0">
                    <a:solidFill>
                      <a:srgbClr val="0070C0"/>
                    </a:solidFill>
                    <a:latin typeface="Consolas" panose="020B0609020204030204" pitchFamily="49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makeRemoveConstantFeaturesWrapper</a:t>
                </a:r>
                <a:r>
                  <a:rPr lang="en-GB" sz="800" dirty="0" smtClean="0">
                    <a:solidFill>
                      <a:srgbClr val="0070C0"/>
                    </a:solidFill>
                    <a:latin typeface="Consolas" panose="020B0609020204030204" pitchFamily="49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(</a:t>
                </a:r>
                <a:r>
                  <a:rPr lang="en-GB" sz="800" dirty="0" smtClean="0">
                    <a:solidFill>
                      <a:schemeClr val="tx1"/>
                    </a:solidFill>
                    <a:latin typeface="Consolas" panose="020B0609020204030204" pitchFamily="49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learner=</a:t>
                </a:r>
                <a:r>
                  <a:rPr lang="en-GB" sz="800" dirty="0" smtClean="0">
                    <a:solidFill>
                      <a:srgbClr val="0070C0"/>
                    </a:solidFill>
                    <a:latin typeface="Consolas" panose="020B0609020204030204" pitchFamily="49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)</a:t>
                </a:r>
              </a:p>
              <a:p>
                <a:pPr algn="l">
                  <a:buClr>
                    <a:srgbClr val="1D4BA8"/>
                  </a:buClr>
                  <a:defRPr sz="1000">
                    <a:latin typeface="Menlo"/>
                    <a:ea typeface="Menlo"/>
                    <a:cs typeface="Menlo"/>
                    <a:sym typeface="Menlo"/>
                  </a:defRPr>
                </a:pPr>
                <a:endPara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endParaRPr>
              </a:p>
              <a:p>
                <a:pPr lvl="0">
                  <a:buClr>
                    <a:srgbClr val="1D4BA8"/>
                  </a:buClr>
                  <a:defRPr sz="1000">
                    <a:latin typeface="Menlo"/>
                    <a:ea typeface="Menlo"/>
                    <a:cs typeface="Menlo"/>
                    <a:sym typeface="Menlo"/>
                  </a:defRPr>
                </a:pPr>
                <a:r>
                  <a:rPr lang="en-GB" sz="1600" b="1" dirty="0" smtClean="0">
                    <a:solidFill>
                      <a:schemeClr val="bg1">
                        <a:lumMod val="65000"/>
                      </a:schemeClr>
                    </a:solidFill>
                    <a:latin typeface="Source Sans Pro" panose="020B0503030403020204" pitchFamily="34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Class imbalance</a:t>
                </a:r>
              </a:p>
              <a:p>
                <a:pPr algn="l">
                  <a:buClr>
                    <a:srgbClr val="1D4BA8"/>
                  </a:buClr>
                  <a:defRPr sz="1000">
                    <a:latin typeface="Menlo"/>
                    <a:ea typeface="Menlo"/>
                    <a:cs typeface="Menlo"/>
                    <a:sym typeface="Menlo"/>
                  </a:defRPr>
                </a:pPr>
                <a:r>
                  <a:rPr lang="en-GB" sz="800" dirty="0" err="1" smtClean="0">
                    <a:solidFill>
                      <a:srgbClr val="0070C0"/>
                    </a:solidFill>
                    <a:latin typeface="Consolas" panose="020B0609020204030204" pitchFamily="49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makeOverBaggingWrapper</a:t>
                </a:r>
                <a:r>
                  <a:rPr lang="en-GB" sz="800" dirty="0" smtClean="0">
                    <a:solidFill>
                      <a:srgbClr val="0070C0"/>
                    </a:solidFill>
                    <a:latin typeface="Consolas" panose="020B0609020204030204" pitchFamily="49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(</a:t>
                </a:r>
                <a:r>
                  <a:rPr lang="en-GB" sz="800" dirty="0" smtClean="0">
                    <a:solidFill>
                      <a:schemeClr val="tx1"/>
                    </a:solidFill>
                    <a:latin typeface="Consolas" panose="020B0609020204030204" pitchFamily="49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learner=</a:t>
                </a:r>
                <a:r>
                  <a:rPr lang="en-GB" sz="800" dirty="0" smtClean="0">
                    <a:solidFill>
                      <a:srgbClr val="0070C0"/>
                    </a:solidFill>
                    <a:latin typeface="Consolas" panose="020B0609020204030204" pitchFamily="49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)</a:t>
                </a:r>
              </a:p>
              <a:p>
                <a:pPr algn="l">
                  <a:buClr>
                    <a:srgbClr val="1D4BA8"/>
                  </a:buClr>
                  <a:defRPr sz="1000">
                    <a:latin typeface="Menlo"/>
                    <a:ea typeface="Menlo"/>
                    <a:cs typeface="Menlo"/>
                    <a:sym typeface="Menlo"/>
                  </a:defRPr>
                </a:pPr>
                <a:r>
                  <a:rPr lang="en-GB" sz="800" dirty="0" err="1" smtClean="0">
                    <a:solidFill>
                      <a:srgbClr val="0070C0"/>
                    </a:solidFill>
                    <a:latin typeface="Consolas" panose="020B0609020204030204" pitchFamily="49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makeSMOTEWrapper</a:t>
                </a:r>
                <a:r>
                  <a:rPr lang="en-GB" sz="800" dirty="0" smtClean="0">
                    <a:solidFill>
                      <a:srgbClr val="0070C0"/>
                    </a:solidFill>
                    <a:latin typeface="Consolas" panose="020B0609020204030204" pitchFamily="49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(</a:t>
                </a:r>
                <a:r>
                  <a:rPr lang="en-GB" sz="800" dirty="0" smtClean="0">
                    <a:solidFill>
                      <a:schemeClr val="tx1"/>
                    </a:solidFill>
                    <a:latin typeface="Consolas" panose="020B0609020204030204" pitchFamily="49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learner=</a:t>
                </a:r>
                <a:r>
                  <a:rPr lang="en-GB" sz="800" dirty="0" smtClean="0">
                    <a:solidFill>
                      <a:srgbClr val="0070C0"/>
                    </a:solidFill>
                    <a:latin typeface="Consolas" panose="020B0609020204030204" pitchFamily="49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)</a:t>
                </a:r>
              </a:p>
              <a:p>
                <a:pPr algn="l">
                  <a:buClr>
                    <a:srgbClr val="1D4BA8"/>
                  </a:buClr>
                  <a:defRPr sz="1000">
                    <a:latin typeface="Menlo"/>
                    <a:ea typeface="Menlo"/>
                    <a:cs typeface="Menlo"/>
                    <a:sym typeface="Menlo"/>
                  </a:defRPr>
                </a:pPr>
                <a:r>
                  <a:rPr lang="en-GB" sz="800" dirty="0" err="1" smtClean="0">
                    <a:solidFill>
                      <a:srgbClr val="0070C0"/>
                    </a:solidFill>
                    <a:latin typeface="Consolas" panose="020B0609020204030204" pitchFamily="49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makeUndersampleWrapper</a:t>
                </a:r>
                <a:r>
                  <a:rPr lang="en-GB" sz="800" dirty="0" smtClean="0">
                    <a:solidFill>
                      <a:srgbClr val="0070C0"/>
                    </a:solidFill>
                    <a:latin typeface="Consolas" panose="020B0609020204030204" pitchFamily="49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(</a:t>
                </a:r>
                <a:r>
                  <a:rPr lang="en-GB" sz="800" dirty="0" smtClean="0">
                    <a:solidFill>
                      <a:schemeClr val="tx1"/>
                    </a:solidFill>
                    <a:latin typeface="Consolas" panose="020B0609020204030204" pitchFamily="49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learner=</a:t>
                </a:r>
                <a:r>
                  <a:rPr lang="en-GB" sz="800" dirty="0" smtClean="0">
                    <a:solidFill>
                      <a:srgbClr val="0070C0"/>
                    </a:solidFill>
                    <a:latin typeface="Consolas" panose="020B0609020204030204" pitchFamily="49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)</a:t>
                </a:r>
              </a:p>
              <a:p>
                <a:pPr algn="l">
                  <a:buClr>
                    <a:srgbClr val="1D4BA8"/>
                  </a:buClr>
                  <a:defRPr sz="1000">
                    <a:latin typeface="Menlo"/>
                    <a:ea typeface="Menlo"/>
                    <a:cs typeface="Menlo"/>
                    <a:sym typeface="Menlo"/>
                  </a:defRPr>
                </a:pPr>
                <a:r>
                  <a:rPr lang="en-GB" sz="800" dirty="0" err="1" smtClean="0">
                    <a:solidFill>
                      <a:srgbClr val="0070C0"/>
                    </a:solidFill>
                    <a:latin typeface="Consolas" panose="020B0609020204030204" pitchFamily="49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makeWeightedClassesWrapper</a:t>
                </a:r>
                <a:r>
                  <a:rPr lang="en-GB" sz="800" dirty="0" smtClean="0">
                    <a:solidFill>
                      <a:srgbClr val="0070C0"/>
                    </a:solidFill>
                    <a:latin typeface="Consolas" panose="020B0609020204030204" pitchFamily="49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(</a:t>
                </a:r>
                <a:r>
                  <a:rPr lang="en-GB" sz="800" dirty="0" smtClean="0">
                    <a:solidFill>
                      <a:schemeClr val="tx1"/>
                    </a:solidFill>
                    <a:latin typeface="Consolas" panose="020B0609020204030204" pitchFamily="49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learner=</a:t>
                </a:r>
                <a:r>
                  <a:rPr lang="en-GB" sz="800" dirty="0" smtClean="0">
                    <a:solidFill>
                      <a:srgbClr val="0070C0"/>
                    </a:solidFill>
                    <a:latin typeface="Consolas" panose="020B0609020204030204" pitchFamily="49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)</a:t>
                </a:r>
              </a:p>
              <a:p>
                <a:pPr algn="l">
                  <a:buClr>
                    <a:srgbClr val="1D4BA8"/>
                  </a:buClr>
                  <a:defRPr sz="1000">
                    <a:latin typeface="Menlo"/>
                    <a:ea typeface="Menlo"/>
                    <a:cs typeface="Menlo"/>
                    <a:sym typeface="Menlo"/>
                  </a:defRPr>
                </a:pPr>
                <a:endPara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endParaRPr>
              </a:p>
              <a:p>
                <a:pPr>
                  <a:buClr>
                    <a:srgbClr val="1D4BA8"/>
                  </a:buClr>
                  <a:defRPr sz="1000">
                    <a:latin typeface="Menlo"/>
                    <a:ea typeface="Menlo"/>
                    <a:cs typeface="Menlo"/>
                    <a:sym typeface="Menlo"/>
                  </a:defRPr>
                </a:pPr>
                <a:r>
                  <a:rPr lang="en-GB" sz="1600" b="1" dirty="0" smtClean="0">
                    <a:solidFill>
                      <a:schemeClr val="bg1">
                        <a:lumMod val="65000"/>
                      </a:schemeClr>
                    </a:solidFill>
                    <a:latin typeface="Source Sans Pro" panose="020B0503030403020204" pitchFamily="34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Cost-sensitive learning</a:t>
                </a:r>
                <a:endParaRPr lang="en-GB" sz="16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endParaRPr>
              </a:p>
              <a:p>
                <a:pPr algn="l">
                  <a:buClr>
                    <a:srgbClr val="1D4BA8"/>
                  </a:buClr>
                  <a:defRPr sz="1000">
                    <a:latin typeface="Menlo"/>
                    <a:ea typeface="Menlo"/>
                    <a:cs typeface="Menlo"/>
                    <a:sym typeface="Menlo"/>
                  </a:defRPr>
                </a:pPr>
                <a:r>
                  <a:rPr lang="en-GB" sz="800" dirty="0" err="1" smtClean="0">
                    <a:solidFill>
                      <a:srgbClr val="0070C0"/>
                    </a:solidFill>
                    <a:latin typeface="Consolas" panose="020B0609020204030204" pitchFamily="49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makeCostSensClassifWrapper</a:t>
                </a:r>
                <a:r>
                  <a:rPr lang="en-GB" sz="800" dirty="0" smtClean="0">
                    <a:solidFill>
                      <a:srgbClr val="0070C0"/>
                    </a:solidFill>
                    <a:latin typeface="Consolas" panose="020B0609020204030204" pitchFamily="49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(</a:t>
                </a:r>
                <a:r>
                  <a:rPr lang="en-GB" sz="800" dirty="0" smtClean="0">
                    <a:solidFill>
                      <a:schemeClr val="tx1"/>
                    </a:solidFill>
                    <a:latin typeface="Consolas" panose="020B0609020204030204" pitchFamily="49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learner=</a:t>
                </a:r>
                <a:r>
                  <a:rPr lang="en-GB" sz="800" dirty="0" smtClean="0">
                    <a:solidFill>
                      <a:srgbClr val="0070C0"/>
                    </a:solidFill>
                    <a:latin typeface="Consolas" panose="020B0609020204030204" pitchFamily="49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)</a:t>
                </a:r>
              </a:p>
              <a:p>
                <a:pPr algn="l">
                  <a:buClr>
                    <a:srgbClr val="1D4BA8"/>
                  </a:buClr>
                  <a:defRPr sz="1000">
                    <a:latin typeface="Menlo"/>
                    <a:ea typeface="Menlo"/>
                    <a:cs typeface="Menlo"/>
                    <a:sym typeface="Menlo"/>
                  </a:defRPr>
                </a:pPr>
                <a:r>
                  <a:rPr lang="en-GB" sz="800" dirty="0" err="1" smtClean="0">
                    <a:solidFill>
                      <a:srgbClr val="0070C0"/>
                    </a:solidFill>
                    <a:latin typeface="Consolas" panose="020B0609020204030204" pitchFamily="49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makeCostSensRegrWrapper</a:t>
                </a:r>
                <a:r>
                  <a:rPr lang="en-GB" sz="800" dirty="0" smtClean="0">
                    <a:solidFill>
                      <a:srgbClr val="0070C0"/>
                    </a:solidFill>
                    <a:latin typeface="Consolas" panose="020B0609020204030204" pitchFamily="49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(</a:t>
                </a:r>
                <a:r>
                  <a:rPr lang="en-GB" sz="800" dirty="0" smtClean="0">
                    <a:solidFill>
                      <a:schemeClr val="tx1"/>
                    </a:solidFill>
                    <a:latin typeface="Consolas" panose="020B0609020204030204" pitchFamily="49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learner=</a:t>
                </a:r>
                <a:r>
                  <a:rPr lang="en-GB" sz="800" dirty="0" smtClean="0">
                    <a:solidFill>
                      <a:srgbClr val="0070C0"/>
                    </a:solidFill>
                    <a:latin typeface="Consolas" panose="020B0609020204030204" pitchFamily="49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)</a:t>
                </a:r>
              </a:p>
              <a:p>
                <a:pPr algn="l">
                  <a:buClr>
                    <a:srgbClr val="1D4BA8"/>
                  </a:buClr>
                  <a:defRPr sz="1000">
                    <a:latin typeface="Menlo"/>
                    <a:ea typeface="Menlo"/>
                    <a:cs typeface="Menlo"/>
                    <a:sym typeface="Menlo"/>
                  </a:defRPr>
                </a:pPr>
                <a:r>
                  <a:rPr lang="en-GB" sz="800" dirty="0" err="1" smtClean="0">
                    <a:solidFill>
                      <a:srgbClr val="0070C0"/>
                    </a:solidFill>
                    <a:latin typeface="Consolas" panose="020B0609020204030204" pitchFamily="49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makeCostSensWeightedPairsWrapper</a:t>
                </a:r>
                <a:r>
                  <a:rPr lang="en-GB" sz="800" dirty="0" smtClean="0">
                    <a:solidFill>
                      <a:srgbClr val="0070C0"/>
                    </a:solidFill>
                    <a:latin typeface="Consolas" panose="020B0609020204030204" pitchFamily="49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(</a:t>
                </a:r>
                <a:r>
                  <a:rPr lang="en-GB" sz="800" dirty="0" smtClean="0">
                    <a:solidFill>
                      <a:schemeClr val="tx1"/>
                    </a:solidFill>
                    <a:latin typeface="Consolas" panose="020B0609020204030204" pitchFamily="49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learner=</a:t>
                </a:r>
                <a:r>
                  <a:rPr lang="en-GB" sz="800" dirty="0" smtClean="0">
                    <a:solidFill>
                      <a:srgbClr val="0070C0"/>
                    </a:solidFill>
                    <a:latin typeface="Consolas" panose="020B0609020204030204" pitchFamily="49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)</a:t>
                </a:r>
              </a:p>
              <a:p>
                <a:pPr algn="l">
                  <a:buClr>
                    <a:srgbClr val="1D4BA8"/>
                  </a:buClr>
                  <a:defRPr sz="1000">
                    <a:latin typeface="Menlo"/>
                    <a:ea typeface="Menlo"/>
                    <a:cs typeface="Menlo"/>
                    <a:sym typeface="Menlo"/>
                  </a:defRPr>
                </a:pPr>
                <a:endPara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endParaRPr>
              </a:p>
              <a:p>
                <a:pPr lvl="0">
                  <a:buClr>
                    <a:srgbClr val="1D4BA8"/>
                  </a:buClr>
                  <a:defRPr sz="1000">
                    <a:latin typeface="Menlo"/>
                    <a:ea typeface="Menlo"/>
                    <a:cs typeface="Menlo"/>
                    <a:sym typeface="Menlo"/>
                  </a:defRPr>
                </a:pPr>
                <a:r>
                  <a:rPr lang="en-GB" sz="1600" b="1" dirty="0" err="1" smtClean="0">
                    <a:solidFill>
                      <a:schemeClr val="bg1">
                        <a:lumMod val="65000"/>
                      </a:schemeClr>
                    </a:solidFill>
                    <a:latin typeface="Source Sans Pro" panose="020B0503030403020204" pitchFamily="34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Multilabel</a:t>
                </a:r>
                <a:r>
                  <a:rPr lang="en-GB" sz="1600" b="1" dirty="0" smtClean="0">
                    <a:solidFill>
                      <a:schemeClr val="bg1">
                        <a:lumMod val="65000"/>
                      </a:schemeClr>
                    </a:solidFill>
                    <a:latin typeface="Source Sans Pro" panose="020B0503030403020204" pitchFamily="34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 classification</a:t>
                </a:r>
              </a:p>
              <a:p>
                <a:pPr algn="l">
                  <a:buClr>
                    <a:srgbClr val="1D4BA8"/>
                  </a:buClr>
                  <a:defRPr sz="1000">
                    <a:latin typeface="Menlo"/>
                    <a:ea typeface="Menlo"/>
                    <a:cs typeface="Menlo"/>
                    <a:sym typeface="Menlo"/>
                  </a:defRPr>
                </a:pPr>
                <a:r>
                  <a:rPr lang="en-GB" sz="800" dirty="0" err="1" smtClean="0">
                    <a:solidFill>
                      <a:srgbClr val="0070C0"/>
                    </a:solidFill>
                    <a:latin typeface="Consolas" panose="020B0609020204030204" pitchFamily="49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makeMultilabelBinaryRelevanceWrapper</a:t>
                </a:r>
                <a:r>
                  <a:rPr lang="en-GB" sz="800" dirty="0" smtClean="0">
                    <a:solidFill>
                      <a:srgbClr val="0070C0"/>
                    </a:solidFill>
                    <a:latin typeface="Consolas" panose="020B0609020204030204" pitchFamily="49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(</a:t>
                </a:r>
                <a:r>
                  <a:rPr lang="en-GB" sz="800" dirty="0" smtClean="0">
                    <a:solidFill>
                      <a:schemeClr val="tx1"/>
                    </a:solidFill>
                    <a:latin typeface="Consolas" panose="020B0609020204030204" pitchFamily="49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learner=</a:t>
                </a:r>
                <a:r>
                  <a:rPr lang="en-GB" sz="800" dirty="0" smtClean="0">
                    <a:solidFill>
                      <a:srgbClr val="0070C0"/>
                    </a:solidFill>
                    <a:latin typeface="Consolas" panose="020B0609020204030204" pitchFamily="49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)</a:t>
                </a:r>
              </a:p>
              <a:p>
                <a:pPr algn="l">
                  <a:buClr>
                    <a:srgbClr val="1D4BA8"/>
                  </a:buClr>
                  <a:defRPr sz="1000">
                    <a:latin typeface="Menlo"/>
                    <a:ea typeface="Menlo"/>
                    <a:cs typeface="Menlo"/>
                    <a:sym typeface="Menlo"/>
                  </a:defRPr>
                </a:pPr>
                <a:r>
                  <a:rPr lang="en-GB" sz="800" dirty="0" err="1" smtClean="0">
                    <a:solidFill>
                      <a:srgbClr val="0070C0"/>
                    </a:solidFill>
                    <a:latin typeface="Consolas" panose="020B0609020204030204" pitchFamily="49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makeMultilabelClassifierChainsWrapper</a:t>
                </a:r>
                <a:r>
                  <a:rPr lang="en-GB" sz="800" dirty="0" smtClean="0">
                    <a:solidFill>
                      <a:srgbClr val="0070C0"/>
                    </a:solidFill>
                    <a:latin typeface="Consolas" panose="020B0609020204030204" pitchFamily="49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(</a:t>
                </a:r>
                <a:r>
                  <a:rPr lang="en-GB" sz="800" dirty="0" smtClean="0">
                    <a:solidFill>
                      <a:schemeClr val="tx1"/>
                    </a:solidFill>
                    <a:latin typeface="Consolas" panose="020B0609020204030204" pitchFamily="49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learner=</a:t>
                </a:r>
                <a:r>
                  <a:rPr lang="en-GB" sz="800" dirty="0" smtClean="0">
                    <a:solidFill>
                      <a:srgbClr val="0070C0"/>
                    </a:solidFill>
                    <a:latin typeface="Consolas" panose="020B0609020204030204" pitchFamily="49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)</a:t>
                </a:r>
              </a:p>
              <a:p>
                <a:pPr algn="l">
                  <a:buClr>
                    <a:srgbClr val="1D4BA8"/>
                  </a:buClr>
                  <a:defRPr sz="1000">
                    <a:latin typeface="Menlo"/>
                    <a:ea typeface="Menlo"/>
                    <a:cs typeface="Menlo"/>
                    <a:sym typeface="Menlo"/>
                  </a:defRPr>
                </a:pPr>
                <a:r>
                  <a:rPr lang="en-GB" sz="800" dirty="0" err="1" smtClean="0">
                    <a:solidFill>
                      <a:srgbClr val="0070C0"/>
                    </a:solidFill>
                    <a:latin typeface="Consolas" panose="020B0609020204030204" pitchFamily="49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makeMultilabelDBRWrapper</a:t>
                </a:r>
                <a:r>
                  <a:rPr lang="en-GB" sz="800" dirty="0" smtClean="0">
                    <a:solidFill>
                      <a:srgbClr val="0070C0"/>
                    </a:solidFill>
                    <a:latin typeface="Consolas" panose="020B0609020204030204" pitchFamily="49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(</a:t>
                </a:r>
                <a:r>
                  <a:rPr lang="en-GB" sz="800" dirty="0" smtClean="0">
                    <a:solidFill>
                      <a:schemeClr val="tx1"/>
                    </a:solidFill>
                    <a:latin typeface="Consolas" panose="020B0609020204030204" pitchFamily="49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learner=</a:t>
                </a:r>
                <a:r>
                  <a:rPr lang="en-GB" sz="800" dirty="0" smtClean="0">
                    <a:solidFill>
                      <a:srgbClr val="0070C0"/>
                    </a:solidFill>
                    <a:latin typeface="Consolas" panose="020B0609020204030204" pitchFamily="49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)</a:t>
                </a:r>
              </a:p>
              <a:p>
                <a:pPr algn="l">
                  <a:buClr>
                    <a:srgbClr val="1D4BA8"/>
                  </a:buClr>
                  <a:defRPr sz="1000">
                    <a:latin typeface="Menlo"/>
                    <a:ea typeface="Menlo"/>
                    <a:cs typeface="Menlo"/>
                    <a:sym typeface="Menlo"/>
                  </a:defRPr>
                </a:pPr>
                <a:r>
                  <a:rPr lang="en-GB" sz="800" dirty="0" err="1" smtClean="0">
                    <a:solidFill>
                      <a:srgbClr val="0070C0"/>
                    </a:solidFill>
                    <a:latin typeface="Consolas" panose="020B0609020204030204" pitchFamily="49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makeMultilabelNestedStackingWrapper</a:t>
                </a:r>
                <a:r>
                  <a:rPr lang="en-GB" sz="800" dirty="0" smtClean="0">
                    <a:solidFill>
                      <a:srgbClr val="0070C0"/>
                    </a:solidFill>
                    <a:latin typeface="Consolas" panose="020B0609020204030204" pitchFamily="49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(</a:t>
                </a:r>
                <a:r>
                  <a:rPr lang="en-GB" sz="800" dirty="0" smtClean="0">
                    <a:solidFill>
                      <a:schemeClr val="tx1"/>
                    </a:solidFill>
                    <a:latin typeface="Consolas" panose="020B0609020204030204" pitchFamily="49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learner=</a:t>
                </a:r>
                <a:r>
                  <a:rPr lang="en-GB" sz="800" dirty="0" smtClean="0">
                    <a:solidFill>
                      <a:srgbClr val="0070C0"/>
                    </a:solidFill>
                    <a:latin typeface="Consolas" panose="020B0609020204030204" pitchFamily="49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)</a:t>
                </a:r>
              </a:p>
              <a:p>
                <a:pPr algn="l">
                  <a:buClr>
                    <a:srgbClr val="1D4BA8"/>
                  </a:buClr>
                  <a:defRPr sz="1000">
                    <a:latin typeface="Menlo"/>
                    <a:ea typeface="Menlo"/>
                    <a:cs typeface="Menlo"/>
                    <a:sym typeface="Menlo"/>
                  </a:defRPr>
                </a:pPr>
                <a:r>
                  <a:rPr lang="en-GB" sz="800" dirty="0" err="1" smtClean="0">
                    <a:solidFill>
                      <a:srgbClr val="0070C0"/>
                    </a:solidFill>
                    <a:latin typeface="Consolas" panose="020B0609020204030204" pitchFamily="49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makeMultilabelStackingWrapper</a:t>
                </a:r>
                <a:r>
                  <a:rPr lang="en-GB" sz="800" dirty="0" smtClean="0">
                    <a:solidFill>
                      <a:srgbClr val="0070C0"/>
                    </a:solidFill>
                    <a:latin typeface="Consolas" panose="020B0609020204030204" pitchFamily="49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(</a:t>
                </a:r>
                <a:r>
                  <a:rPr lang="en-GB" sz="800" dirty="0" smtClean="0">
                    <a:solidFill>
                      <a:schemeClr val="tx1"/>
                    </a:solidFill>
                    <a:latin typeface="Consolas" panose="020B0609020204030204" pitchFamily="49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learner=</a:t>
                </a:r>
                <a:r>
                  <a:rPr lang="en-GB" sz="800" dirty="0" smtClean="0">
                    <a:solidFill>
                      <a:srgbClr val="0070C0"/>
                    </a:solidFill>
                    <a:latin typeface="Consolas" panose="020B0609020204030204" pitchFamily="49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)</a:t>
                </a:r>
              </a:p>
              <a:p>
                <a:pPr algn="l">
                  <a:buClr>
                    <a:srgbClr val="1D4BA8"/>
                  </a:buClr>
                  <a:defRPr sz="1000">
                    <a:latin typeface="Menlo"/>
                    <a:ea typeface="Menlo"/>
                    <a:cs typeface="Menlo"/>
                    <a:sym typeface="Menlo"/>
                  </a:defRPr>
                </a:pPr>
                <a:endParaRPr lang="en-GB" sz="800" dirty="0" smtClean="0">
                  <a:solidFill>
                    <a:srgbClr val="0070C0"/>
                  </a:solidFill>
                  <a:latin typeface="Consolas" panose="020B0609020204030204" pitchFamily="49" charset="0"/>
                  <a:ea typeface="Source Sans Pro" panose="020B0503030403020204" pitchFamily="34" charset="0"/>
                  <a:cs typeface="Courier New" panose="02070309020205020404" pitchFamily="49" charset="0"/>
                  <a:sym typeface="Menlo"/>
                </a:endParaRPr>
              </a:p>
              <a:p>
                <a:pPr lvl="0">
                  <a:buClr>
                    <a:srgbClr val="1D4BA8"/>
                  </a:buClr>
                  <a:defRPr sz="1000">
                    <a:latin typeface="Menlo"/>
                    <a:ea typeface="Menlo"/>
                    <a:cs typeface="Menlo"/>
                    <a:sym typeface="Menlo"/>
                  </a:defRPr>
                </a:pPr>
                <a:r>
                  <a:rPr lang="en-GB" sz="1600" b="1" dirty="0" smtClean="0">
                    <a:solidFill>
                      <a:schemeClr val="bg1">
                        <a:lumMod val="65000"/>
                      </a:schemeClr>
                    </a:solidFill>
                    <a:latin typeface="Source Sans Pro" panose="020B0503030403020204" pitchFamily="34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Other</a:t>
                </a:r>
              </a:p>
              <a:p>
                <a:pPr algn="l">
                  <a:buClr>
                    <a:srgbClr val="1D4BA8"/>
                  </a:buClr>
                  <a:defRPr sz="1000">
                    <a:latin typeface="Menlo"/>
                    <a:ea typeface="Menlo"/>
                    <a:cs typeface="Menlo"/>
                    <a:sym typeface="Menlo"/>
                  </a:defRPr>
                </a:pPr>
                <a:r>
                  <a:rPr lang="en-GB" sz="800" dirty="0" err="1" smtClean="0">
                    <a:solidFill>
                      <a:srgbClr val="0070C0"/>
                    </a:solidFill>
                    <a:latin typeface="Consolas" panose="020B0609020204030204" pitchFamily="49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makeBaggingWrapper</a:t>
                </a:r>
                <a:r>
                  <a:rPr lang="en-GB" sz="800" dirty="0" smtClean="0">
                    <a:solidFill>
                      <a:srgbClr val="0070C0"/>
                    </a:solidFill>
                    <a:latin typeface="Consolas" panose="020B0609020204030204" pitchFamily="49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(</a:t>
                </a:r>
                <a:r>
                  <a:rPr lang="en-GB" sz="800" dirty="0" smtClean="0">
                    <a:solidFill>
                      <a:schemeClr val="tx1"/>
                    </a:solidFill>
                    <a:latin typeface="Consolas" panose="020B0609020204030204" pitchFamily="49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learner=</a:t>
                </a:r>
                <a:r>
                  <a:rPr lang="en-GB" sz="800" dirty="0" smtClean="0">
                    <a:solidFill>
                      <a:srgbClr val="0070C0"/>
                    </a:solidFill>
                    <a:latin typeface="Consolas" panose="020B0609020204030204" pitchFamily="49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)</a:t>
                </a:r>
              </a:p>
              <a:p>
                <a:pPr algn="l">
                  <a:buClr>
                    <a:srgbClr val="1D4BA8"/>
                  </a:buClr>
                  <a:defRPr sz="1000">
                    <a:latin typeface="Menlo"/>
                    <a:ea typeface="Menlo"/>
                    <a:cs typeface="Menlo"/>
                    <a:sym typeface="Menlo"/>
                  </a:defRPr>
                </a:pPr>
                <a:r>
                  <a:rPr lang="en-GB" sz="800" dirty="0" err="1" smtClean="0">
                    <a:solidFill>
                      <a:srgbClr val="0070C0"/>
                    </a:solidFill>
                    <a:latin typeface="Consolas" panose="020B0609020204030204" pitchFamily="49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makeConstantClassWrapper</a:t>
                </a:r>
                <a:r>
                  <a:rPr lang="en-GB" sz="800" dirty="0" smtClean="0">
                    <a:solidFill>
                      <a:srgbClr val="0070C0"/>
                    </a:solidFill>
                    <a:latin typeface="Consolas" panose="020B0609020204030204" pitchFamily="49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(</a:t>
                </a:r>
                <a:r>
                  <a:rPr lang="en-GB" sz="800" dirty="0" smtClean="0">
                    <a:solidFill>
                      <a:schemeClr val="tx1"/>
                    </a:solidFill>
                    <a:latin typeface="Consolas" panose="020B0609020204030204" pitchFamily="49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learner=</a:t>
                </a:r>
                <a:r>
                  <a:rPr lang="en-GB" sz="800" dirty="0" smtClean="0">
                    <a:solidFill>
                      <a:srgbClr val="0070C0"/>
                    </a:solidFill>
                    <a:latin typeface="Consolas" panose="020B0609020204030204" pitchFamily="49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)</a:t>
                </a:r>
              </a:p>
              <a:p>
                <a:pPr algn="l">
                  <a:buClr>
                    <a:srgbClr val="1D4BA8"/>
                  </a:buClr>
                  <a:defRPr sz="1000">
                    <a:latin typeface="Menlo"/>
                    <a:ea typeface="Menlo"/>
                    <a:cs typeface="Menlo"/>
                    <a:sym typeface="Menlo"/>
                  </a:defRPr>
                </a:pPr>
                <a:r>
                  <a:rPr lang="en-GB" sz="800" dirty="0" err="1" smtClean="0">
                    <a:solidFill>
                      <a:srgbClr val="0070C0"/>
                    </a:solidFill>
                    <a:latin typeface="Consolas" panose="020B0609020204030204" pitchFamily="49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makeDownsampleWrapper</a:t>
                </a:r>
                <a:r>
                  <a:rPr lang="en-GB" sz="800" dirty="0" smtClean="0">
                    <a:solidFill>
                      <a:srgbClr val="0070C0"/>
                    </a:solidFill>
                    <a:latin typeface="Consolas" panose="020B0609020204030204" pitchFamily="49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(</a:t>
                </a:r>
                <a:r>
                  <a:rPr lang="en-GB" sz="800" dirty="0" smtClean="0">
                    <a:solidFill>
                      <a:schemeClr val="tx1"/>
                    </a:solidFill>
                    <a:latin typeface="Consolas" panose="020B0609020204030204" pitchFamily="49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learner=,</a:t>
                </a:r>
                <a:r>
                  <a:rPr lang="en-GB" sz="800" dirty="0" err="1" smtClean="0">
                    <a:solidFill>
                      <a:schemeClr val="tx1"/>
                    </a:solidFill>
                    <a:latin typeface="Consolas" panose="020B0609020204030204" pitchFamily="49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dw.perc</a:t>
                </a:r>
                <a:r>
                  <a:rPr lang="en-GB" sz="800" dirty="0" smtClean="0">
                    <a:solidFill>
                      <a:schemeClr val="tx1"/>
                    </a:solidFill>
                    <a:latin typeface="Consolas" panose="020B0609020204030204" pitchFamily="49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=</a:t>
                </a:r>
                <a:r>
                  <a:rPr lang="en-GB" sz="800" dirty="0" smtClean="0">
                    <a:solidFill>
                      <a:srgbClr val="0070C0"/>
                    </a:solidFill>
                    <a:latin typeface="Consolas" panose="020B0609020204030204" pitchFamily="49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)</a:t>
                </a:r>
              </a:p>
              <a:p>
                <a:pPr algn="l">
                  <a:buClr>
                    <a:srgbClr val="1D4BA8"/>
                  </a:buClr>
                  <a:defRPr sz="1000">
                    <a:latin typeface="Menlo"/>
                    <a:ea typeface="Menlo"/>
                    <a:cs typeface="Menlo"/>
                    <a:sym typeface="Menlo"/>
                  </a:defRPr>
                </a:pPr>
                <a:r>
                  <a:rPr lang="en-GB" sz="800" dirty="0" err="1" smtClean="0">
                    <a:solidFill>
                      <a:srgbClr val="0070C0"/>
                    </a:solidFill>
                    <a:latin typeface="Consolas" panose="020B0609020204030204" pitchFamily="49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makeFeatSelWrapper</a:t>
                </a:r>
                <a:r>
                  <a:rPr lang="en-GB" sz="800" dirty="0" smtClean="0">
                    <a:solidFill>
                      <a:srgbClr val="0070C0"/>
                    </a:solidFill>
                    <a:latin typeface="Consolas" panose="020B0609020204030204" pitchFamily="49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(</a:t>
                </a:r>
                <a:r>
                  <a:rPr lang="en-GB" sz="800" dirty="0" smtClean="0">
                    <a:solidFill>
                      <a:schemeClr val="tx1"/>
                    </a:solidFill>
                    <a:latin typeface="Consolas" panose="020B0609020204030204" pitchFamily="49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learner=,resampling=,control=</a:t>
                </a:r>
                <a:r>
                  <a:rPr lang="en-GB" sz="800" dirty="0" smtClean="0">
                    <a:solidFill>
                      <a:srgbClr val="0070C0"/>
                    </a:solidFill>
                    <a:latin typeface="Consolas" panose="020B0609020204030204" pitchFamily="49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)</a:t>
                </a:r>
              </a:p>
              <a:p>
                <a:pPr algn="l">
                  <a:buClr>
                    <a:srgbClr val="1D4BA8"/>
                  </a:buClr>
                  <a:defRPr sz="1000">
                    <a:latin typeface="Menlo"/>
                    <a:ea typeface="Menlo"/>
                    <a:cs typeface="Menlo"/>
                    <a:sym typeface="Menlo"/>
                  </a:defRPr>
                </a:pPr>
                <a:r>
                  <a:rPr lang="en-GB" sz="800" dirty="0" err="1" smtClean="0">
                    <a:solidFill>
                      <a:srgbClr val="0070C0"/>
                    </a:solidFill>
                    <a:latin typeface="Consolas" panose="020B0609020204030204" pitchFamily="49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makeFilterWrapper</a:t>
                </a:r>
                <a:r>
                  <a:rPr lang="en-GB" sz="800" dirty="0" smtClean="0">
                    <a:solidFill>
                      <a:srgbClr val="0070C0"/>
                    </a:solidFill>
                    <a:latin typeface="Consolas" panose="020B0609020204030204" pitchFamily="49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(</a:t>
                </a:r>
                <a:r>
                  <a:rPr lang="en-GB" sz="800" dirty="0" smtClean="0">
                    <a:solidFill>
                      <a:schemeClr val="tx1"/>
                    </a:solidFill>
                    <a:latin typeface="Consolas" panose="020B0609020204030204" pitchFamily="49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learner=,</a:t>
                </a:r>
                <a:r>
                  <a:rPr lang="en-GB" sz="800" dirty="0" err="1" smtClean="0">
                    <a:solidFill>
                      <a:schemeClr val="tx1"/>
                    </a:solidFill>
                    <a:latin typeface="Consolas" panose="020B0609020204030204" pitchFamily="49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fw.perc</a:t>
                </a:r>
                <a:r>
                  <a:rPr lang="en-GB" sz="800" dirty="0" smtClean="0">
                    <a:solidFill>
                      <a:schemeClr val="tx1"/>
                    </a:solidFill>
                    <a:latin typeface="Consolas" panose="020B0609020204030204" pitchFamily="49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=,</a:t>
                </a:r>
                <a:r>
                  <a:rPr lang="en-GB" sz="800" dirty="0" err="1" smtClean="0">
                    <a:solidFill>
                      <a:schemeClr val="tx1"/>
                    </a:solidFill>
                    <a:latin typeface="Consolas" panose="020B0609020204030204" pitchFamily="49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fw.abs</a:t>
                </a:r>
                <a:r>
                  <a:rPr lang="en-GB" sz="800" dirty="0" smtClean="0">
                    <a:solidFill>
                      <a:schemeClr val="tx1"/>
                    </a:solidFill>
                    <a:latin typeface="Consolas" panose="020B0609020204030204" pitchFamily="49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=,</a:t>
                </a:r>
              </a:p>
              <a:p>
                <a:pPr algn="l">
                  <a:buClr>
                    <a:srgbClr val="1D4BA8"/>
                  </a:buClr>
                  <a:defRPr sz="1000">
                    <a:latin typeface="Menlo"/>
                    <a:ea typeface="Menlo"/>
                    <a:cs typeface="Menlo"/>
                    <a:sym typeface="Menlo"/>
                  </a:defRPr>
                </a:pPr>
                <a:r>
                  <a:rPr lang="en-GB" sz="800" dirty="0" err="1" smtClean="0">
                    <a:solidFill>
                      <a:schemeClr val="tx1"/>
                    </a:solidFill>
                    <a:latin typeface="Consolas" panose="020B0609020204030204" pitchFamily="49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fw.threshold</a:t>
                </a:r>
                <a:r>
                  <a:rPr lang="en-GB" sz="800" dirty="0" smtClean="0">
                    <a:solidFill>
                      <a:schemeClr val="tx1"/>
                    </a:solidFill>
                    <a:latin typeface="Consolas" panose="020B0609020204030204" pitchFamily="49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=</a:t>
                </a:r>
                <a:r>
                  <a:rPr lang="en-GB" sz="800" dirty="0" smtClean="0">
                    <a:solidFill>
                      <a:srgbClr val="0070C0"/>
                    </a:solidFill>
                    <a:latin typeface="Consolas" panose="020B0609020204030204" pitchFamily="49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)</a:t>
                </a:r>
              </a:p>
              <a:p>
                <a:pPr algn="l">
                  <a:buClr>
                    <a:srgbClr val="1D4BA8"/>
                  </a:buClr>
                  <a:defRPr sz="1000">
                    <a:latin typeface="Menlo"/>
                    <a:ea typeface="Menlo"/>
                    <a:cs typeface="Menlo"/>
                    <a:sym typeface="Menlo"/>
                  </a:defRPr>
                </a:pPr>
                <a:r>
                  <a:rPr lang="en-GB" sz="800" dirty="0" err="1" smtClean="0">
                    <a:solidFill>
                      <a:srgbClr val="0070C0"/>
                    </a:solidFill>
                    <a:latin typeface="Consolas" panose="020B0609020204030204" pitchFamily="49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makeMultiClassWrapper</a:t>
                </a:r>
                <a:r>
                  <a:rPr lang="en-GB" sz="800" dirty="0" smtClean="0">
                    <a:solidFill>
                      <a:srgbClr val="0070C0"/>
                    </a:solidFill>
                    <a:latin typeface="Consolas" panose="020B0609020204030204" pitchFamily="49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(</a:t>
                </a:r>
                <a:r>
                  <a:rPr lang="en-GB" sz="800" dirty="0" smtClean="0">
                    <a:solidFill>
                      <a:schemeClr val="tx1"/>
                    </a:solidFill>
                    <a:latin typeface="Consolas" panose="020B0609020204030204" pitchFamily="49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learner=</a:t>
                </a:r>
                <a:r>
                  <a:rPr lang="en-GB" sz="800" dirty="0" smtClean="0">
                    <a:solidFill>
                      <a:srgbClr val="0070C0"/>
                    </a:solidFill>
                    <a:latin typeface="Consolas" panose="020B0609020204030204" pitchFamily="49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)</a:t>
                </a:r>
              </a:p>
              <a:p>
                <a:pPr algn="l">
                  <a:buClr>
                    <a:srgbClr val="1D4BA8"/>
                  </a:buClr>
                  <a:defRPr sz="1000">
                    <a:latin typeface="Menlo"/>
                    <a:ea typeface="Menlo"/>
                    <a:cs typeface="Menlo"/>
                    <a:sym typeface="Menlo"/>
                  </a:defRPr>
                </a:pPr>
                <a:r>
                  <a:rPr lang="en-GB" sz="800" dirty="0" err="1" smtClean="0">
                    <a:solidFill>
                      <a:srgbClr val="0070C0"/>
                    </a:solidFill>
                    <a:latin typeface="Consolas" panose="020B0609020204030204" pitchFamily="49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makeTuneWrapper</a:t>
                </a:r>
                <a:r>
                  <a:rPr lang="en-GB" sz="800" dirty="0" smtClean="0">
                    <a:solidFill>
                      <a:srgbClr val="0070C0"/>
                    </a:solidFill>
                    <a:latin typeface="Consolas" panose="020B0609020204030204" pitchFamily="49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(</a:t>
                </a:r>
                <a:r>
                  <a:rPr lang="en-GB" sz="800" dirty="0" smtClean="0">
                    <a:solidFill>
                      <a:schemeClr val="tx1"/>
                    </a:solidFill>
                    <a:latin typeface="Consolas" panose="020B0609020204030204" pitchFamily="49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learner=,resampling=,</a:t>
                </a:r>
                <a:r>
                  <a:rPr lang="en-GB" sz="800" dirty="0" err="1" smtClean="0">
                    <a:solidFill>
                      <a:schemeClr val="tx1"/>
                    </a:solidFill>
                    <a:latin typeface="Consolas" panose="020B0609020204030204" pitchFamily="49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par.set</a:t>
                </a:r>
                <a:r>
                  <a:rPr lang="en-GB" sz="800" dirty="0" smtClean="0">
                    <a:solidFill>
                      <a:schemeClr val="tx1"/>
                    </a:solidFill>
                    <a:latin typeface="Consolas" panose="020B0609020204030204" pitchFamily="49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=,</a:t>
                </a:r>
              </a:p>
              <a:p>
                <a:pPr algn="l">
                  <a:buClr>
                    <a:srgbClr val="1D4BA8"/>
                  </a:buClr>
                  <a:defRPr sz="1000">
                    <a:latin typeface="Menlo"/>
                    <a:ea typeface="Menlo"/>
                    <a:cs typeface="Menlo"/>
                    <a:sym typeface="Menlo"/>
                  </a:defRPr>
                </a:pPr>
                <a:r>
                  <a:rPr lang="en-GB" sz="800" dirty="0" smtClean="0">
                    <a:solidFill>
                      <a:schemeClr val="tx1"/>
                    </a:solidFill>
                    <a:latin typeface="Consolas" panose="020B0609020204030204" pitchFamily="49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control=</a:t>
                </a:r>
                <a:r>
                  <a:rPr lang="en-GB" sz="800" dirty="0" smtClean="0">
                    <a:solidFill>
                      <a:srgbClr val="0070C0"/>
                    </a:solidFill>
                    <a:latin typeface="Consolas" panose="020B0609020204030204" pitchFamily="49" charset="0"/>
                    <a:ea typeface="Source Sans Pro" panose="020B0503030403020204" pitchFamily="34" charset="0"/>
                    <a:cs typeface="Courier New" panose="02070309020205020404" pitchFamily="49" charset="0"/>
                    <a:sym typeface="Menlo"/>
                  </a:rPr>
                  <a:t>)</a:t>
                </a:r>
              </a:p>
            </p:txBody>
          </p:sp>
        </p:grpSp>
        <p:sp>
          <p:nvSpPr>
            <p:cNvPr id="124" name="Rectangle 123"/>
            <p:cNvSpPr/>
            <p:nvPr/>
          </p:nvSpPr>
          <p:spPr>
            <a:xfrm>
              <a:off x="10983905" y="2007352"/>
              <a:ext cx="452808" cy="298015"/>
            </a:xfrm>
            <a:prstGeom prst="rect">
              <a:avLst/>
            </a:prstGeom>
            <a:solidFill>
              <a:srgbClr val="0070C0"/>
            </a:solidFill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no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600" b="1" i="0" u="none" strike="noStrike" cap="none" spc="0" normalizeH="0" baseline="0" dirty="0" smtClean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Light"/>
                </a:rPr>
                <a:t>Learner</a:t>
              </a:r>
              <a:endParaRPr kumimoji="0" lang="en-US" sz="600" b="1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125" name="Rectangle 124"/>
            <p:cNvSpPr/>
            <p:nvPr/>
          </p:nvSpPr>
          <p:spPr>
            <a:xfrm>
              <a:off x="10910479" y="1737185"/>
              <a:ext cx="599660" cy="623136"/>
            </a:xfrm>
            <a:prstGeom prst="rect">
              <a:avLst/>
            </a:prstGeom>
            <a:noFill/>
            <a:ln w="12700" cap="flat">
              <a:solidFill>
                <a:srgbClr val="002060"/>
              </a:solidFill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4570" tIns="54570" rIns="54570" bIns="54570" numCol="1" spcCol="38100" rtlCol="0" anchor="t">
              <a:no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600" b="1" i="0" u="none" strike="noStrike" cap="none" spc="0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Light"/>
                </a:rPr>
                <a:t>Wrapper 1</a:t>
              </a:r>
              <a:endParaRPr kumimoji="0" lang="en-US" sz="600" b="1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126" name="Rectangle 125"/>
            <p:cNvSpPr/>
            <p:nvPr/>
          </p:nvSpPr>
          <p:spPr>
            <a:xfrm>
              <a:off x="10833401" y="1450239"/>
              <a:ext cx="753816" cy="1001396"/>
            </a:xfrm>
            <a:prstGeom prst="rect">
              <a:avLst/>
            </a:prstGeom>
            <a:noFill/>
            <a:ln w="12700" cap="flat">
              <a:solidFill>
                <a:srgbClr val="002060"/>
              </a:solidFill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4570" tIns="54570" rIns="54570" bIns="54570" numCol="1" spcCol="38100" rtlCol="0" anchor="t">
              <a:no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600" b="1" i="0" u="none" strike="noStrike" cap="none" spc="0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Light"/>
                </a:rPr>
                <a:t>Wrapper 2</a:t>
              </a:r>
              <a:endParaRPr kumimoji="0" lang="en-US" sz="600" b="1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131" name="Rectangle 130"/>
            <p:cNvSpPr/>
            <p:nvPr/>
          </p:nvSpPr>
          <p:spPr>
            <a:xfrm>
              <a:off x="10781422" y="1188022"/>
              <a:ext cx="857774" cy="1382865"/>
            </a:xfrm>
            <a:prstGeom prst="rect">
              <a:avLst/>
            </a:prstGeom>
            <a:noFill/>
            <a:ln w="12700" cap="flat">
              <a:solidFill>
                <a:srgbClr val="002060"/>
              </a:solidFill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4570" tIns="54570" rIns="54570" bIns="54570" numCol="1" spcCol="38100" rtlCol="0" anchor="t">
              <a:no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600" b="1" i="0" u="none" strike="noStrike" cap="none" spc="0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Light"/>
                </a:rPr>
                <a:t>Wrapper 3, etc.</a:t>
              </a:r>
              <a:endParaRPr kumimoji="0" lang="en-US" sz="600" b="1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</p:grpSp>
      <p:sp>
        <p:nvSpPr>
          <p:cNvPr id="104" name="Rechteck 71"/>
          <p:cNvSpPr/>
          <p:nvPr/>
        </p:nvSpPr>
        <p:spPr>
          <a:xfrm>
            <a:off x="254062" y="285395"/>
            <a:ext cx="3263902" cy="3039472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4570" tIns="54570" rIns="54570" bIns="54570" numCol="1" spcCol="38100" rtlCol="0" anchor="ctr">
            <a:no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260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sym typeface="Helvetica Light"/>
            </a:endParaRPr>
          </a:p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de-DE" sz="2600" dirty="0">
              <a:solidFill>
                <a:srgbClr val="FFFFFF"/>
              </a:solidFill>
            </a:endParaRPr>
          </a:p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260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sym typeface="Helvetica Light"/>
            </a:endParaRPr>
          </a:p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de-DE" sz="2600" dirty="0">
              <a:solidFill>
                <a:srgbClr val="FFFFFF"/>
              </a:solidFill>
            </a:endParaRPr>
          </a:p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260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sym typeface="Helvetica Light"/>
            </a:endParaRPr>
          </a:p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de-DE" sz="2600" dirty="0">
              <a:solidFill>
                <a:srgbClr val="FFFFFF"/>
              </a:solidFill>
            </a:endParaRPr>
          </a:p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260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sym typeface="Helvetica Light"/>
            </a:endParaRPr>
          </a:p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de-DE" sz="2600" dirty="0">
              <a:solidFill>
                <a:srgbClr val="FFFFFF"/>
              </a:solidFill>
            </a:endParaRPr>
          </a:p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260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sym typeface="Helvetica Light"/>
            </a:endParaRPr>
          </a:p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de-DE" sz="2600" dirty="0">
              <a:solidFill>
                <a:srgbClr val="FFFFFF"/>
              </a:solidFill>
            </a:endParaRPr>
          </a:p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260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sym typeface="Helvetica Light"/>
            </a:endParaRPr>
          </a:p>
        </p:txBody>
      </p:sp>
      <p:sp>
        <p:nvSpPr>
          <p:cNvPr id="105" name="Abgerundetes Rechteck 73"/>
          <p:cNvSpPr/>
          <p:nvPr/>
        </p:nvSpPr>
        <p:spPr>
          <a:xfrm>
            <a:off x="393783" y="706501"/>
            <a:ext cx="2994535" cy="2526392"/>
          </a:xfrm>
          <a:prstGeom prst="roundRect">
            <a:avLst>
              <a:gd name="adj" fmla="val 4902"/>
            </a:avLst>
          </a:prstGeom>
          <a:solidFill>
            <a:schemeClr val="bg1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4570" tIns="0" rIns="54570" bIns="0" numCol="1" spcCol="38100" rtlCol="0" anchor="t">
            <a:noAutofit/>
          </a:bodyPr>
          <a:lstStyle/>
          <a:p>
            <a:pPr lvl="0" algn="l">
              <a:buClr>
                <a:srgbClr val="1D4BA8"/>
              </a:buClr>
              <a:defRPr sz="1000">
                <a:latin typeface="Menlo"/>
                <a:ea typeface="Menlo"/>
                <a:cs typeface="Menlo"/>
                <a:sym typeface="Menlo"/>
              </a:defRPr>
            </a:pPr>
            <a:r>
              <a:rPr lang="en-GB" sz="800" dirty="0" err="1" smtClean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mlr’s</a:t>
            </a:r>
            <a:r>
              <a:rPr lang="en-GB" sz="800" dirty="0" smtClean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 default settings can be changed using </a:t>
            </a:r>
            <a:r>
              <a:rPr lang="en-GB" sz="800" dirty="0" err="1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configureMlr</a:t>
            </a:r>
            <a:r>
              <a:rPr lang="en-GB" sz="800" dirty="0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()</a:t>
            </a:r>
            <a:r>
              <a:rPr lang="en-GB" sz="800" dirty="0" smtClean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:</a:t>
            </a:r>
          </a:p>
          <a:p>
            <a:pPr marL="114300" lvl="0" indent="-114300" algn="l">
              <a:buClr>
                <a:srgbClr val="1D4BA8"/>
              </a:buClr>
              <a:buFont typeface="Arial" panose="020B0604020202020204" pitchFamily="34" charset="0"/>
              <a:buChar char="•"/>
              <a:defRPr sz="1000">
                <a:latin typeface="Menlo"/>
                <a:ea typeface="Menlo"/>
                <a:cs typeface="Menlo"/>
                <a:sym typeface="Menlo"/>
              </a:defRPr>
            </a:pPr>
            <a:r>
              <a:rPr lang="en-GB" sz="800" dirty="0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show.info</a:t>
            </a:r>
            <a:r>
              <a:rPr lang="en-GB" sz="800" dirty="0" smtClean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 Whether to show verbose output by default when training, tuning, resampling, etc. (</a:t>
            </a:r>
            <a:r>
              <a:rPr lang="en-GB" sz="800" dirty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TRUE</a:t>
            </a:r>
            <a:r>
              <a:rPr lang="en-GB" sz="800" dirty="0" smtClean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)</a:t>
            </a:r>
          </a:p>
          <a:p>
            <a:pPr marL="114300" indent="-114300" algn="l">
              <a:buClr>
                <a:srgbClr val="1D4BA8"/>
              </a:buClr>
              <a:buFont typeface="Arial" panose="020B0604020202020204" pitchFamily="34" charset="0"/>
              <a:buChar char="•"/>
              <a:defRPr sz="1000">
                <a:latin typeface="Menlo"/>
                <a:ea typeface="Menlo"/>
                <a:cs typeface="Menlo"/>
                <a:sym typeface="Menlo"/>
              </a:defRPr>
            </a:pPr>
            <a:r>
              <a:rPr lang="en-GB" sz="800" dirty="0" err="1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on.learner.error</a:t>
            </a:r>
            <a:r>
              <a:rPr lang="en-GB" sz="800" dirty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 </a:t>
            </a:r>
            <a:r>
              <a:rPr lang="en-GB" sz="800" dirty="0" smtClean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How to handle a learner error. </a:t>
            </a:r>
            <a:r>
              <a:rPr lang="en-GB" sz="800" dirty="0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"stop"</a:t>
            </a:r>
            <a:r>
              <a:rPr lang="en-GB" sz="800" dirty="0" smtClean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 halts execution, </a:t>
            </a:r>
            <a:r>
              <a:rPr lang="en-GB" sz="800" dirty="0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"warn"</a:t>
            </a:r>
            <a:r>
              <a:rPr lang="en-GB" sz="800" dirty="0" smtClean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 returns NAs and displays a warning, </a:t>
            </a:r>
            <a:r>
              <a:rPr lang="en-GB" sz="800" dirty="0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"quiet"</a:t>
            </a:r>
            <a:r>
              <a:rPr lang="en-GB" sz="800" dirty="0" smtClean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 returns NAs with no warning (</a:t>
            </a:r>
            <a:r>
              <a:rPr lang="en-GB" sz="800" dirty="0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"stop"</a:t>
            </a:r>
            <a:r>
              <a:rPr lang="en-GB" sz="800" dirty="0" smtClean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)</a:t>
            </a:r>
            <a:endParaRPr lang="en-GB" sz="800" dirty="0" smtClean="0">
              <a:solidFill>
                <a:srgbClr val="0070C0"/>
              </a:solidFill>
              <a:latin typeface="Consolas" panose="020B0609020204030204" pitchFamily="49" charset="0"/>
              <a:ea typeface="Source Sans Pro" panose="020B0503030403020204" pitchFamily="34" charset="0"/>
              <a:cs typeface="Courier New" panose="02070309020205020404" pitchFamily="49" charset="0"/>
              <a:sym typeface="Menlo"/>
            </a:endParaRPr>
          </a:p>
          <a:p>
            <a:pPr marL="114300" indent="-114300" algn="l">
              <a:buClr>
                <a:srgbClr val="1D4BA8"/>
              </a:buClr>
              <a:buFont typeface="Arial" panose="020B0604020202020204" pitchFamily="34" charset="0"/>
              <a:buChar char="•"/>
              <a:defRPr sz="1000">
                <a:latin typeface="Menlo"/>
                <a:ea typeface="Menlo"/>
                <a:cs typeface="Menlo"/>
                <a:sym typeface="Menlo"/>
              </a:defRPr>
            </a:pPr>
            <a:r>
              <a:rPr lang="en-GB" sz="800" dirty="0" err="1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on.learner.warning</a:t>
            </a:r>
            <a:r>
              <a:rPr lang="en-GB" sz="800" dirty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 </a:t>
            </a:r>
            <a:r>
              <a:rPr lang="en-GB" sz="800" dirty="0" smtClean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How to handle a learner warning. </a:t>
            </a:r>
            <a:r>
              <a:rPr lang="en-GB" sz="800" dirty="0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"warn"</a:t>
            </a:r>
            <a:r>
              <a:rPr lang="en-GB" sz="800" dirty="0" smtClean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 displays </a:t>
            </a:r>
            <a:r>
              <a:rPr lang="en-GB" sz="800" dirty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a warning, </a:t>
            </a:r>
            <a:r>
              <a:rPr lang="en-GB" sz="800" dirty="0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"quiet"</a:t>
            </a:r>
            <a:r>
              <a:rPr lang="en-GB" sz="800" dirty="0" smtClean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 supresses it (</a:t>
            </a:r>
            <a:r>
              <a:rPr lang="en-GB" sz="800" dirty="0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"warn"</a:t>
            </a:r>
            <a:r>
              <a:rPr lang="en-GB" sz="800" dirty="0" smtClean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)</a:t>
            </a:r>
            <a:endParaRPr lang="en-GB" sz="800" dirty="0" smtClean="0">
              <a:solidFill>
                <a:srgbClr val="0070C0"/>
              </a:solidFill>
              <a:latin typeface="Consolas" panose="020B0609020204030204" pitchFamily="49" charset="0"/>
              <a:ea typeface="Source Sans Pro" panose="020B0503030403020204" pitchFamily="34" charset="0"/>
              <a:cs typeface="Courier New" panose="02070309020205020404" pitchFamily="49" charset="0"/>
              <a:sym typeface="Menlo"/>
            </a:endParaRPr>
          </a:p>
          <a:p>
            <a:pPr marL="114300" indent="-114300" algn="l">
              <a:buClr>
                <a:srgbClr val="1D4BA8"/>
              </a:buClr>
              <a:buFont typeface="Arial" panose="020B0604020202020204" pitchFamily="34" charset="0"/>
              <a:buChar char="•"/>
              <a:defRPr sz="1000">
                <a:latin typeface="Menlo"/>
                <a:ea typeface="Menlo"/>
                <a:cs typeface="Menlo"/>
                <a:sym typeface="Menlo"/>
              </a:defRPr>
            </a:pPr>
            <a:r>
              <a:rPr lang="en-GB" sz="800" dirty="0" err="1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on.par.without.desc</a:t>
            </a:r>
            <a:r>
              <a:rPr lang="en-GB" sz="800" dirty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 </a:t>
            </a:r>
            <a:r>
              <a:rPr lang="en-GB" sz="800" dirty="0" smtClean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How to handle a parameter with no description. </a:t>
            </a:r>
            <a:r>
              <a:rPr lang="en-GB" sz="800" dirty="0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"stop"</a:t>
            </a:r>
            <a:r>
              <a:rPr lang="en-GB" sz="800" dirty="0" smtClean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, </a:t>
            </a:r>
            <a:r>
              <a:rPr lang="en-GB" sz="800" dirty="0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"warn"</a:t>
            </a:r>
            <a:r>
              <a:rPr lang="en-GB" sz="800" dirty="0" smtClean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, </a:t>
            </a:r>
            <a:r>
              <a:rPr lang="en-GB" sz="800" dirty="0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"quiet"</a:t>
            </a:r>
            <a:r>
              <a:rPr lang="en-GB" sz="800" dirty="0" smtClean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 (</a:t>
            </a:r>
            <a:r>
              <a:rPr lang="en-GB" sz="800" dirty="0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"stop"</a:t>
            </a:r>
            <a:r>
              <a:rPr lang="en-GB" sz="800" dirty="0" smtClean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)</a:t>
            </a:r>
            <a:endParaRPr lang="en-GB" sz="800" dirty="0" smtClean="0">
              <a:solidFill>
                <a:srgbClr val="0070C0"/>
              </a:solidFill>
              <a:latin typeface="Consolas" panose="020B0609020204030204" pitchFamily="49" charset="0"/>
              <a:ea typeface="Source Sans Pro" panose="020B0503030403020204" pitchFamily="34" charset="0"/>
              <a:cs typeface="Courier New" panose="02070309020205020404" pitchFamily="49" charset="0"/>
              <a:sym typeface="Menlo"/>
            </a:endParaRPr>
          </a:p>
          <a:p>
            <a:pPr marL="114300" indent="-114300" algn="l">
              <a:buClr>
                <a:srgbClr val="1D4BA8"/>
              </a:buClr>
              <a:buFont typeface="Arial" panose="020B0604020202020204" pitchFamily="34" charset="0"/>
              <a:buChar char="•"/>
              <a:defRPr sz="1000">
                <a:latin typeface="Menlo"/>
                <a:ea typeface="Menlo"/>
                <a:cs typeface="Menlo"/>
                <a:sym typeface="Menlo"/>
              </a:defRPr>
            </a:pPr>
            <a:r>
              <a:rPr lang="en-GB" sz="800" dirty="0" err="1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on.par.out.of.bounds</a:t>
            </a:r>
            <a:r>
              <a:rPr lang="en-GB" sz="800" dirty="0" smtClean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 </a:t>
            </a:r>
            <a:r>
              <a:rPr lang="en-GB" sz="800" dirty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How to handle a parameter </a:t>
            </a:r>
            <a:r>
              <a:rPr lang="en-GB" sz="800" dirty="0" smtClean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with an out-of-bounds value. </a:t>
            </a:r>
            <a:r>
              <a:rPr lang="en-GB" sz="800" dirty="0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"stop"</a:t>
            </a:r>
            <a:r>
              <a:rPr lang="en-GB" sz="800" dirty="0" smtClean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, </a:t>
            </a:r>
            <a:r>
              <a:rPr lang="en-GB" sz="800" dirty="0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"warn"</a:t>
            </a:r>
            <a:r>
              <a:rPr lang="en-GB" sz="800" dirty="0" smtClean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, </a:t>
            </a:r>
            <a:r>
              <a:rPr lang="en-GB" sz="800" dirty="0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"quiet"</a:t>
            </a:r>
            <a:r>
              <a:rPr lang="en-GB" sz="800" dirty="0" smtClean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 (</a:t>
            </a:r>
            <a:r>
              <a:rPr lang="en-GB" sz="800" dirty="0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"stop"</a:t>
            </a:r>
            <a:r>
              <a:rPr lang="en-GB" sz="800" dirty="0" smtClean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)</a:t>
            </a:r>
            <a:endParaRPr lang="en-GB" sz="800" dirty="0" smtClean="0">
              <a:solidFill>
                <a:srgbClr val="0070C0"/>
              </a:solidFill>
              <a:latin typeface="Consolas" panose="020B0609020204030204" pitchFamily="49" charset="0"/>
              <a:ea typeface="Source Sans Pro" panose="020B0503030403020204" pitchFamily="34" charset="0"/>
              <a:cs typeface="Courier New" panose="02070309020205020404" pitchFamily="49" charset="0"/>
              <a:sym typeface="Menlo"/>
            </a:endParaRPr>
          </a:p>
          <a:p>
            <a:pPr marL="114300" indent="-114300" algn="l">
              <a:buClr>
                <a:srgbClr val="1D4BA8"/>
              </a:buClr>
              <a:buFont typeface="Arial" panose="020B0604020202020204" pitchFamily="34" charset="0"/>
              <a:buChar char="•"/>
              <a:defRPr sz="1000">
                <a:latin typeface="Menlo"/>
                <a:ea typeface="Menlo"/>
                <a:cs typeface="Menlo"/>
                <a:sym typeface="Menlo"/>
              </a:defRPr>
            </a:pPr>
            <a:r>
              <a:rPr lang="en-GB" sz="800" dirty="0" err="1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on.measure.not.applicable</a:t>
            </a:r>
            <a:r>
              <a:rPr lang="en-GB" sz="800" dirty="0" smtClean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 </a:t>
            </a:r>
            <a:r>
              <a:rPr lang="en-GB" sz="800" dirty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How to handle a </a:t>
            </a:r>
            <a:r>
              <a:rPr lang="en-GB" sz="800" dirty="0" smtClean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measure not applicable to a learner. </a:t>
            </a:r>
            <a:r>
              <a:rPr lang="en-GB" sz="800" dirty="0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"stop"</a:t>
            </a:r>
            <a:r>
              <a:rPr lang="en-GB" sz="800" dirty="0" smtClean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, </a:t>
            </a:r>
            <a:r>
              <a:rPr lang="en-GB" sz="800" dirty="0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"warn"</a:t>
            </a:r>
            <a:r>
              <a:rPr lang="en-GB" sz="800" dirty="0" smtClean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, </a:t>
            </a:r>
            <a:r>
              <a:rPr lang="en-GB" sz="800" dirty="0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"quiet"</a:t>
            </a:r>
            <a:r>
              <a:rPr lang="en-GB" sz="800" dirty="0" smtClean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 (</a:t>
            </a:r>
            <a:r>
              <a:rPr lang="en-GB" sz="800" dirty="0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"stop"</a:t>
            </a:r>
            <a:r>
              <a:rPr lang="en-GB" sz="800" dirty="0" smtClean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)</a:t>
            </a:r>
            <a:endParaRPr lang="en-GB" sz="800" dirty="0" smtClean="0">
              <a:solidFill>
                <a:srgbClr val="0070C0"/>
              </a:solidFill>
              <a:latin typeface="Consolas" panose="020B0609020204030204" pitchFamily="49" charset="0"/>
              <a:ea typeface="Source Sans Pro" panose="020B0503030403020204" pitchFamily="34" charset="0"/>
              <a:cs typeface="Courier New" panose="02070309020205020404" pitchFamily="49" charset="0"/>
              <a:sym typeface="Menlo"/>
            </a:endParaRPr>
          </a:p>
          <a:p>
            <a:pPr marL="114300" indent="-114300" algn="l">
              <a:buClr>
                <a:srgbClr val="1D4BA8"/>
              </a:buClr>
              <a:buFont typeface="Arial" panose="020B0604020202020204" pitchFamily="34" charset="0"/>
              <a:buChar char="•"/>
              <a:defRPr sz="1000">
                <a:latin typeface="Menlo"/>
                <a:ea typeface="Menlo"/>
                <a:cs typeface="Menlo"/>
                <a:sym typeface="Menlo"/>
              </a:defRPr>
            </a:pPr>
            <a:r>
              <a:rPr lang="en-GB" sz="800" dirty="0" err="1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show.learner.output</a:t>
            </a:r>
            <a:r>
              <a:rPr lang="en-GB" sz="800" dirty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 </a:t>
            </a:r>
            <a:r>
              <a:rPr lang="en-GB" sz="800" dirty="0" smtClean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Whether to show learner output to the console during training </a:t>
            </a:r>
            <a:r>
              <a:rPr lang="en-GB" sz="800" dirty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(</a:t>
            </a:r>
            <a:r>
              <a:rPr lang="en-GB" sz="800" dirty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TRUE</a:t>
            </a:r>
            <a:r>
              <a:rPr lang="en-GB" sz="800" dirty="0" smtClean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)</a:t>
            </a:r>
            <a:endParaRPr lang="en-GB" sz="800" dirty="0" smtClean="0">
              <a:solidFill>
                <a:srgbClr val="0070C0"/>
              </a:solidFill>
              <a:latin typeface="Consolas" panose="020B0609020204030204" pitchFamily="49" charset="0"/>
              <a:ea typeface="Source Sans Pro" panose="020B0503030403020204" pitchFamily="34" charset="0"/>
              <a:cs typeface="Courier New" panose="02070309020205020404" pitchFamily="49" charset="0"/>
              <a:sym typeface="Menlo"/>
            </a:endParaRPr>
          </a:p>
          <a:p>
            <a:pPr marL="114300" indent="-114300" algn="l">
              <a:buClr>
                <a:srgbClr val="1D4BA8"/>
              </a:buClr>
              <a:buFont typeface="Arial" panose="020B0604020202020204" pitchFamily="34" charset="0"/>
              <a:buChar char="•"/>
              <a:defRPr sz="1000">
                <a:latin typeface="Menlo"/>
                <a:ea typeface="Menlo"/>
                <a:cs typeface="Menlo"/>
                <a:sym typeface="Menlo"/>
              </a:defRPr>
            </a:pPr>
            <a:r>
              <a:rPr lang="en-GB" sz="800" dirty="0" err="1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on.error.dump</a:t>
            </a:r>
            <a:r>
              <a:rPr lang="en-GB" sz="800" dirty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 </a:t>
            </a:r>
            <a:r>
              <a:rPr lang="en-GB" sz="800" dirty="0" smtClean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Whether to create an error dump for crashed learners if </a:t>
            </a:r>
            <a:r>
              <a:rPr lang="en-GB" sz="800" dirty="0" err="1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on.learner.error</a:t>
            </a:r>
            <a:r>
              <a:rPr lang="en-GB" sz="800" dirty="0" smtClean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 is not set to </a:t>
            </a:r>
            <a:r>
              <a:rPr lang="en-GB" sz="800" dirty="0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"stop"</a:t>
            </a:r>
            <a:r>
              <a:rPr lang="en-GB" sz="800" dirty="0" smtClean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 (</a:t>
            </a:r>
            <a:r>
              <a:rPr lang="en-GB" sz="800" dirty="0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TRUE</a:t>
            </a:r>
            <a:r>
              <a:rPr lang="en-GB" sz="800" dirty="0" smtClean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)</a:t>
            </a:r>
          </a:p>
          <a:p>
            <a:pPr algn="l">
              <a:buClr>
                <a:srgbClr val="1D4BA8"/>
              </a:buClr>
              <a:defRPr sz="1000">
                <a:latin typeface="Menlo"/>
                <a:ea typeface="Menlo"/>
                <a:cs typeface="Menlo"/>
                <a:sym typeface="Menlo"/>
              </a:defRPr>
            </a:pPr>
            <a:endParaRPr lang="en-GB" sz="800" dirty="0" smtClean="0">
              <a:solidFill>
                <a:schemeClr val="tx1"/>
              </a:solidFill>
              <a:latin typeface="Source Sans Pro" panose="020B0503030403020204" pitchFamily="34" charset="0"/>
              <a:ea typeface="Source Sans Pro" panose="020B0503030403020204" pitchFamily="34" charset="0"/>
              <a:cs typeface="Courier New" panose="02070309020205020404" pitchFamily="49" charset="0"/>
              <a:sym typeface="Menlo"/>
            </a:endParaRPr>
          </a:p>
          <a:p>
            <a:pPr algn="l">
              <a:buClr>
                <a:srgbClr val="1D4BA8"/>
              </a:buClr>
              <a:defRPr sz="1000">
                <a:latin typeface="Menlo"/>
                <a:ea typeface="Menlo"/>
                <a:cs typeface="Menlo"/>
                <a:sym typeface="Menlo"/>
              </a:defRPr>
            </a:pPr>
            <a:r>
              <a:rPr lang="en-GB" sz="800" dirty="0" smtClean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Use </a:t>
            </a:r>
            <a:r>
              <a:rPr lang="en-GB" sz="800" dirty="0" err="1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getMlrOptions</a:t>
            </a:r>
            <a:r>
              <a:rPr lang="en-GB" sz="800" dirty="0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()</a:t>
            </a:r>
            <a:r>
              <a:rPr lang="en-GB" sz="800" dirty="0" smtClean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 to see current settings</a:t>
            </a:r>
            <a:endParaRPr lang="en-GB" sz="800" dirty="0">
              <a:solidFill>
                <a:schemeClr val="tx1"/>
              </a:solidFill>
              <a:latin typeface="Source Sans Pro" panose="020B0503030403020204" pitchFamily="34" charset="0"/>
              <a:ea typeface="Source Sans Pro" panose="020B0503030403020204" pitchFamily="34" charset="0"/>
              <a:cs typeface="Courier New" panose="02070309020205020404" pitchFamily="49" charset="0"/>
              <a:sym typeface="Menlo"/>
            </a:endParaRPr>
          </a:p>
        </p:txBody>
      </p:sp>
      <p:sp>
        <p:nvSpPr>
          <p:cNvPr id="106" name="Shape 38"/>
          <p:cNvSpPr/>
          <p:nvPr/>
        </p:nvSpPr>
        <p:spPr>
          <a:xfrm>
            <a:off x="252130" y="256192"/>
            <a:ext cx="3263902" cy="337903"/>
          </a:xfrm>
          <a:prstGeom prst="roundRect">
            <a:avLst>
              <a:gd name="adj" fmla="val 20098"/>
            </a:avLst>
          </a:prstGeom>
          <a:solidFill>
            <a:srgbClr val="1D4BA8"/>
          </a:solidFill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 anchor="ctr"/>
          <a:lstStyle/>
          <a:p>
            <a:pPr lvl="1" indent="0">
              <a:defRPr sz="1800"/>
            </a:pPr>
            <a:r>
              <a:rPr lang="en-GB" sz="2000" dirty="0" smtClean="0">
                <a:solidFill>
                  <a:srgbClr val="FFFFFF"/>
                </a:solidFill>
                <a:latin typeface="Arial" panose="020B0604020202020204" pitchFamily="34" charset="0"/>
                <a:ea typeface="Source Sans Pro"/>
                <a:cs typeface="Arial" panose="020B0604020202020204" pitchFamily="34" charset="0"/>
                <a:sym typeface="Source Sans Pro"/>
              </a:rPr>
              <a:t>Configuration</a:t>
            </a:r>
            <a:endParaRPr sz="2000" dirty="0">
              <a:solidFill>
                <a:srgbClr val="FFFFFF"/>
              </a:solidFill>
              <a:latin typeface="Arial" panose="020B0604020202020204" pitchFamily="34" charset="0"/>
              <a:ea typeface="Source Sans Pro"/>
              <a:cs typeface="Arial" panose="020B0604020202020204" pitchFamily="34" charset="0"/>
              <a:sym typeface="Source Sans Pro"/>
            </a:endParaRPr>
          </a:p>
        </p:txBody>
      </p:sp>
      <p:sp>
        <p:nvSpPr>
          <p:cNvPr id="107" name="Rechteck 71"/>
          <p:cNvSpPr/>
          <p:nvPr/>
        </p:nvSpPr>
        <p:spPr>
          <a:xfrm>
            <a:off x="254062" y="3466476"/>
            <a:ext cx="3263902" cy="3151878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4570" tIns="54570" rIns="54570" bIns="54570" numCol="1" spcCol="38100" rtlCol="0" anchor="ctr">
            <a:no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260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sym typeface="Helvetica Light"/>
            </a:endParaRPr>
          </a:p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de-DE" sz="2600" dirty="0">
              <a:solidFill>
                <a:srgbClr val="FFFFFF"/>
              </a:solidFill>
            </a:endParaRPr>
          </a:p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260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sym typeface="Helvetica Light"/>
            </a:endParaRPr>
          </a:p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de-DE" sz="2600" dirty="0">
              <a:solidFill>
                <a:srgbClr val="FFFFFF"/>
              </a:solidFill>
            </a:endParaRPr>
          </a:p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260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sym typeface="Helvetica Light"/>
            </a:endParaRPr>
          </a:p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de-DE" sz="2600" dirty="0">
              <a:solidFill>
                <a:srgbClr val="FFFFFF"/>
              </a:solidFill>
            </a:endParaRPr>
          </a:p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260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sym typeface="Helvetica Light"/>
            </a:endParaRPr>
          </a:p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de-DE" sz="2600" dirty="0">
              <a:solidFill>
                <a:srgbClr val="FFFFFF"/>
              </a:solidFill>
            </a:endParaRPr>
          </a:p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260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sym typeface="Helvetica Light"/>
            </a:endParaRPr>
          </a:p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de-DE" sz="2600" dirty="0">
              <a:solidFill>
                <a:srgbClr val="FFFFFF"/>
              </a:solidFill>
            </a:endParaRPr>
          </a:p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260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sym typeface="Helvetica Light"/>
            </a:endParaRPr>
          </a:p>
        </p:txBody>
      </p:sp>
      <p:sp>
        <p:nvSpPr>
          <p:cNvPr id="108" name="Abgerundetes Rechteck 73"/>
          <p:cNvSpPr/>
          <p:nvPr/>
        </p:nvSpPr>
        <p:spPr>
          <a:xfrm>
            <a:off x="393783" y="3887582"/>
            <a:ext cx="3007857" cy="2657998"/>
          </a:xfrm>
          <a:prstGeom prst="roundRect">
            <a:avLst>
              <a:gd name="adj" fmla="val 4902"/>
            </a:avLst>
          </a:prstGeom>
          <a:solidFill>
            <a:schemeClr val="bg1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4570" tIns="0" rIns="54570" bIns="0" numCol="1" spcCol="38100" rtlCol="0" anchor="t">
            <a:noAutofit/>
          </a:bodyPr>
          <a:lstStyle/>
          <a:p>
            <a:pPr algn="l">
              <a:buClr>
                <a:srgbClr val="1D4BA8"/>
              </a:buClr>
              <a:defRPr sz="1000">
                <a:latin typeface="Menlo"/>
                <a:ea typeface="Menlo"/>
                <a:cs typeface="Menlo"/>
                <a:sym typeface="Menlo"/>
              </a:defRPr>
            </a:pPr>
            <a:r>
              <a:rPr lang="en-GB" sz="800" dirty="0" err="1" smtClean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mlr</a:t>
            </a:r>
            <a:r>
              <a:rPr lang="en-GB" sz="800" dirty="0" smtClean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 works with the </a:t>
            </a:r>
            <a:r>
              <a:rPr lang="en-GB" sz="800" dirty="0" err="1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parallelMap</a:t>
            </a:r>
            <a:r>
              <a:rPr lang="en-GB" sz="800" dirty="0" smtClean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 package to take advantage of multicore and cluster computing for faster operations</a:t>
            </a:r>
            <a:r>
              <a:rPr lang="en-GB" sz="800" dirty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. </a:t>
            </a:r>
            <a:r>
              <a:rPr lang="en-GB" sz="800" dirty="0" err="1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mlr</a:t>
            </a:r>
            <a:r>
              <a:rPr lang="en-GB" sz="800" dirty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 automatically detects which operations are able to run in </a:t>
            </a:r>
            <a:r>
              <a:rPr lang="en-GB" sz="800" dirty="0" smtClean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parallel.</a:t>
            </a:r>
            <a:endParaRPr lang="en-GB" sz="800" dirty="0">
              <a:solidFill>
                <a:schemeClr val="tx1"/>
              </a:solidFill>
              <a:latin typeface="Source Sans Pro" panose="020B0503030403020204" pitchFamily="34" charset="0"/>
              <a:ea typeface="Source Sans Pro" panose="020B0503030403020204" pitchFamily="34" charset="0"/>
              <a:cs typeface="Courier New" panose="02070309020205020404" pitchFamily="49" charset="0"/>
              <a:sym typeface="Menlo"/>
            </a:endParaRPr>
          </a:p>
          <a:p>
            <a:pPr lvl="0" algn="l">
              <a:buClr>
                <a:srgbClr val="1D4BA8"/>
              </a:buClr>
              <a:defRPr sz="1000">
                <a:latin typeface="Menlo"/>
                <a:ea typeface="Menlo"/>
                <a:cs typeface="Menlo"/>
                <a:sym typeface="Menlo"/>
              </a:defRPr>
            </a:pPr>
            <a:endParaRPr lang="en-GB" sz="800" dirty="0">
              <a:solidFill>
                <a:schemeClr val="tx1"/>
              </a:solidFill>
              <a:latin typeface="Source Sans Pro" panose="020B0503030403020204" pitchFamily="34" charset="0"/>
              <a:ea typeface="Source Sans Pro" panose="020B0503030403020204" pitchFamily="34" charset="0"/>
              <a:cs typeface="Courier New" panose="02070309020205020404" pitchFamily="49" charset="0"/>
              <a:sym typeface="Menlo"/>
            </a:endParaRPr>
          </a:p>
          <a:p>
            <a:pPr lvl="0" algn="l">
              <a:buClr>
                <a:srgbClr val="1D4BA8"/>
              </a:buClr>
              <a:defRPr sz="1000">
                <a:latin typeface="Menlo"/>
                <a:ea typeface="Menlo"/>
                <a:cs typeface="Menlo"/>
                <a:sym typeface="Menlo"/>
              </a:defRPr>
            </a:pPr>
            <a:r>
              <a:rPr lang="en-GB" sz="800" dirty="0" smtClean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To begin parallel operation use:</a:t>
            </a:r>
          </a:p>
          <a:p>
            <a:pPr lvl="0" algn="l">
              <a:buClr>
                <a:srgbClr val="1D4BA8"/>
              </a:buClr>
              <a:defRPr sz="1000">
                <a:latin typeface="Menlo"/>
                <a:ea typeface="Menlo"/>
                <a:cs typeface="Menlo"/>
                <a:sym typeface="Menlo"/>
              </a:defRPr>
            </a:pPr>
            <a:r>
              <a:rPr lang="en-GB" sz="800" dirty="0" err="1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parallelStart</a:t>
            </a:r>
            <a:r>
              <a:rPr lang="en-GB" sz="800" dirty="0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(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mode=</a:t>
            </a:r>
            <a:r>
              <a:rPr lang="en-GB" sz="800" dirty="0" smtClean="0">
                <a:solidFill>
                  <a:schemeClr val="tx1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,</a:t>
            </a:r>
            <a:r>
              <a:rPr lang="en-GB" sz="800" dirty="0" err="1" smtClean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cpus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=</a:t>
            </a:r>
            <a:r>
              <a:rPr lang="en-GB" sz="800" dirty="0" smtClean="0">
                <a:solidFill>
                  <a:schemeClr val="tx1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,</a:t>
            </a:r>
            <a:r>
              <a:rPr lang="en-GB" sz="800" dirty="0" smtClean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level=</a:t>
            </a:r>
            <a:r>
              <a:rPr lang="en-GB" sz="800" dirty="0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)</a:t>
            </a:r>
          </a:p>
          <a:p>
            <a:pPr marL="114300" lvl="0" indent="-114300" algn="l">
              <a:buClr>
                <a:srgbClr val="1D4BA8"/>
              </a:buClr>
              <a:buFont typeface="Arial" panose="020B0604020202020204" pitchFamily="34" charset="0"/>
              <a:buChar char="•"/>
              <a:defRPr sz="1000">
                <a:latin typeface="Menlo"/>
                <a:ea typeface="Menlo"/>
                <a:cs typeface="Menlo"/>
                <a:sym typeface="Menlo"/>
              </a:defRPr>
            </a:pPr>
            <a:r>
              <a:rPr lang="en-GB" sz="800" dirty="0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mode</a:t>
            </a:r>
            <a:r>
              <a:rPr lang="en-GB" sz="800" dirty="0" smtClean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 determines how the parallelization is performed:</a:t>
            </a:r>
          </a:p>
          <a:p>
            <a:pPr marL="228600" lvl="0" indent="-114300" algn="l">
              <a:buClr>
                <a:srgbClr val="1D4BA8"/>
              </a:buClr>
              <a:buFont typeface="Arial" panose="020B0604020202020204" pitchFamily="34" charset="0"/>
              <a:buChar char="•"/>
              <a:defRPr sz="1000">
                <a:latin typeface="Menlo"/>
                <a:ea typeface="Menlo"/>
                <a:cs typeface="Menlo"/>
                <a:sym typeface="Menlo"/>
              </a:defRPr>
            </a:pPr>
            <a:r>
              <a:rPr lang="en-GB" sz="800" dirty="0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"local"</a:t>
            </a:r>
            <a:r>
              <a:rPr lang="en-GB" sz="800" dirty="0" smtClean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 no parallelization applied, simply uses </a:t>
            </a:r>
            <a:r>
              <a:rPr lang="en-GB" sz="800" dirty="0" err="1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mapply</a:t>
            </a:r>
            <a:endParaRPr lang="en-GB" sz="800" dirty="0" smtClean="0">
              <a:solidFill>
                <a:srgbClr val="0070C0"/>
              </a:solidFill>
              <a:latin typeface="Consolas" panose="020B0609020204030204" pitchFamily="49" charset="0"/>
              <a:ea typeface="Source Sans Pro" panose="020B0503030403020204" pitchFamily="34" charset="0"/>
              <a:cs typeface="Courier New" panose="02070309020205020404" pitchFamily="49" charset="0"/>
              <a:sym typeface="Menlo"/>
            </a:endParaRPr>
          </a:p>
          <a:p>
            <a:pPr marL="228600" lvl="0" indent="-114300" algn="l">
              <a:buClr>
                <a:srgbClr val="1D4BA8"/>
              </a:buClr>
              <a:buFont typeface="Arial" panose="020B0604020202020204" pitchFamily="34" charset="0"/>
              <a:buChar char="•"/>
              <a:defRPr sz="1000">
                <a:latin typeface="Menlo"/>
                <a:ea typeface="Menlo"/>
                <a:cs typeface="Menlo"/>
                <a:sym typeface="Menlo"/>
              </a:defRPr>
            </a:pPr>
            <a:r>
              <a:rPr lang="en-GB" sz="800" dirty="0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"multicore"</a:t>
            </a:r>
            <a:r>
              <a:rPr lang="en-GB" sz="800" dirty="0" smtClean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 multicore execution on a single machine, uses </a:t>
            </a:r>
            <a:r>
              <a:rPr lang="en-GB" sz="800" dirty="0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parallel::</a:t>
            </a:r>
            <a:r>
              <a:rPr lang="en-GB" sz="800" dirty="0" err="1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mclapply</a:t>
            </a:r>
            <a:r>
              <a:rPr lang="en-GB" sz="800" dirty="0" smtClean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. Not available in Windows.</a:t>
            </a:r>
          </a:p>
          <a:p>
            <a:pPr marL="228600" lvl="0" indent="-114300" algn="l">
              <a:buClr>
                <a:srgbClr val="1D4BA8"/>
              </a:buClr>
              <a:buFont typeface="Arial" panose="020B0604020202020204" pitchFamily="34" charset="0"/>
              <a:buChar char="•"/>
              <a:defRPr sz="1000">
                <a:latin typeface="Menlo"/>
                <a:ea typeface="Menlo"/>
                <a:cs typeface="Menlo"/>
                <a:sym typeface="Menlo"/>
              </a:defRPr>
            </a:pPr>
            <a:r>
              <a:rPr lang="en-GB" sz="800" dirty="0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"socket"</a:t>
            </a:r>
            <a:r>
              <a:rPr lang="en-GB" sz="800" dirty="0" smtClean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 </a:t>
            </a:r>
            <a:r>
              <a:rPr lang="en-GB" sz="800" dirty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multicore execution </a:t>
            </a:r>
            <a:r>
              <a:rPr lang="en-GB" sz="800" dirty="0" smtClean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in socket mode</a:t>
            </a:r>
            <a:endParaRPr lang="en-GB" sz="800" dirty="0" smtClean="0">
              <a:solidFill>
                <a:srgbClr val="0070C0"/>
              </a:solidFill>
              <a:latin typeface="Consolas" panose="020B0609020204030204" pitchFamily="49" charset="0"/>
              <a:ea typeface="Source Sans Pro" panose="020B0503030403020204" pitchFamily="34" charset="0"/>
              <a:cs typeface="Courier New" panose="02070309020205020404" pitchFamily="49" charset="0"/>
              <a:sym typeface="Menlo"/>
            </a:endParaRPr>
          </a:p>
          <a:p>
            <a:pPr marL="228600" lvl="0" indent="-114300" algn="l">
              <a:buClr>
                <a:srgbClr val="1D4BA8"/>
              </a:buClr>
              <a:buFont typeface="Arial" panose="020B0604020202020204" pitchFamily="34" charset="0"/>
              <a:buChar char="•"/>
              <a:defRPr sz="1000">
                <a:latin typeface="Menlo"/>
                <a:ea typeface="Menlo"/>
                <a:cs typeface="Menlo"/>
                <a:sym typeface="Menlo"/>
              </a:defRPr>
            </a:pPr>
            <a:r>
              <a:rPr lang="en-GB" sz="800" dirty="0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"</a:t>
            </a:r>
            <a:r>
              <a:rPr lang="en-GB" sz="800" dirty="0" err="1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mpi</a:t>
            </a:r>
            <a:r>
              <a:rPr lang="en-GB" sz="800" dirty="0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"</a:t>
            </a:r>
            <a:r>
              <a:rPr lang="en-GB" sz="800" dirty="0" smtClean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 Snow MPI cluster on one or multiple machines using </a:t>
            </a:r>
            <a:r>
              <a:rPr lang="en-GB" sz="800" dirty="0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parallel::</a:t>
            </a:r>
            <a:r>
              <a:rPr lang="en-GB" sz="800" dirty="0" err="1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makeCluster</a:t>
            </a:r>
            <a:r>
              <a:rPr lang="en-GB" sz="800" dirty="0" smtClean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 and </a:t>
            </a:r>
            <a:r>
              <a:rPr lang="en-GB" sz="800" dirty="0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parallel::</a:t>
            </a:r>
            <a:r>
              <a:rPr lang="en-GB" sz="800" dirty="0" err="1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clusterMap</a:t>
            </a:r>
            <a:endParaRPr lang="en-GB" sz="800" dirty="0" smtClean="0">
              <a:solidFill>
                <a:srgbClr val="0070C0"/>
              </a:solidFill>
              <a:latin typeface="Consolas" panose="020B0609020204030204" pitchFamily="49" charset="0"/>
              <a:ea typeface="Source Sans Pro" panose="020B0503030403020204" pitchFamily="34" charset="0"/>
              <a:cs typeface="Courier New" panose="02070309020205020404" pitchFamily="49" charset="0"/>
              <a:sym typeface="Menlo"/>
            </a:endParaRPr>
          </a:p>
          <a:p>
            <a:pPr marL="228600" lvl="0" indent="-114300" algn="l">
              <a:buClr>
                <a:srgbClr val="1D4BA8"/>
              </a:buClr>
              <a:buFont typeface="Arial" panose="020B0604020202020204" pitchFamily="34" charset="0"/>
              <a:buChar char="•"/>
              <a:defRPr sz="1000">
                <a:latin typeface="Menlo"/>
                <a:ea typeface="Menlo"/>
                <a:cs typeface="Menlo"/>
                <a:sym typeface="Menlo"/>
              </a:defRPr>
            </a:pPr>
            <a:r>
              <a:rPr lang="en-GB" sz="800" dirty="0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"</a:t>
            </a:r>
            <a:r>
              <a:rPr lang="en-GB" sz="800" dirty="0" err="1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BatchJobs</a:t>
            </a:r>
            <a:r>
              <a:rPr lang="en-GB" sz="800" dirty="0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"</a:t>
            </a:r>
            <a:r>
              <a:rPr lang="en-GB" sz="800" dirty="0" smtClean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 Batch queuing HPC clusters using </a:t>
            </a:r>
            <a:r>
              <a:rPr lang="en-GB" sz="800" dirty="0" err="1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BatchJobs</a:t>
            </a:r>
            <a:r>
              <a:rPr lang="en-GB" sz="800" dirty="0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::</a:t>
            </a:r>
            <a:r>
              <a:rPr lang="en-GB" sz="800" dirty="0" err="1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batchMap</a:t>
            </a:r>
            <a:endParaRPr lang="en-GB" sz="800" dirty="0" smtClean="0">
              <a:solidFill>
                <a:srgbClr val="0070C0"/>
              </a:solidFill>
              <a:latin typeface="Consolas" panose="020B0609020204030204" pitchFamily="49" charset="0"/>
              <a:ea typeface="Source Sans Pro" panose="020B0503030403020204" pitchFamily="34" charset="0"/>
              <a:cs typeface="Courier New" panose="02070309020205020404" pitchFamily="49" charset="0"/>
              <a:sym typeface="Menlo"/>
            </a:endParaRPr>
          </a:p>
          <a:p>
            <a:pPr marL="114300" lvl="0" indent="-114300" algn="l">
              <a:buClr>
                <a:srgbClr val="1D4BA8"/>
              </a:buClr>
              <a:buFont typeface="Arial" panose="020B0604020202020204" pitchFamily="34" charset="0"/>
              <a:buChar char="•"/>
              <a:defRPr sz="1000">
                <a:latin typeface="Menlo"/>
                <a:ea typeface="Menlo"/>
                <a:cs typeface="Menlo"/>
                <a:sym typeface="Menlo"/>
              </a:defRPr>
            </a:pPr>
            <a:r>
              <a:rPr lang="en-GB" sz="800" dirty="0" err="1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cpus</a:t>
            </a:r>
            <a:r>
              <a:rPr lang="en-GB" sz="800" dirty="0" smtClean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 determines how many logical cores will be used</a:t>
            </a:r>
          </a:p>
          <a:p>
            <a:pPr marL="114300" lvl="0" indent="-114300" algn="l">
              <a:buClr>
                <a:srgbClr val="1D4BA8"/>
              </a:buClr>
              <a:buFont typeface="Arial" panose="020B0604020202020204" pitchFamily="34" charset="0"/>
              <a:buChar char="•"/>
              <a:defRPr sz="1000">
                <a:latin typeface="Menlo"/>
                <a:ea typeface="Menlo"/>
                <a:cs typeface="Menlo"/>
                <a:sym typeface="Menlo"/>
              </a:defRPr>
            </a:pPr>
            <a:r>
              <a:rPr lang="en-GB" sz="800" dirty="0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level</a:t>
            </a:r>
            <a:r>
              <a:rPr lang="en-GB" sz="800" dirty="0" smtClean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 controls parallelization: </a:t>
            </a:r>
            <a:r>
              <a:rPr lang="en-GB" sz="800" dirty="0" smtClean="0">
                <a:solidFill>
                  <a:schemeClr val="accent1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"</a:t>
            </a:r>
            <a:r>
              <a:rPr lang="en-GB" sz="800" dirty="0" err="1" smtClean="0">
                <a:solidFill>
                  <a:schemeClr val="accent1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mlr.benchmark</a:t>
            </a:r>
            <a:r>
              <a:rPr lang="en-GB" sz="800" dirty="0" smtClean="0">
                <a:solidFill>
                  <a:schemeClr val="accent1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" "</a:t>
            </a:r>
            <a:r>
              <a:rPr lang="en-GB" sz="800" dirty="0" err="1" smtClean="0">
                <a:solidFill>
                  <a:schemeClr val="accent1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mlr.resample</a:t>
            </a:r>
            <a:r>
              <a:rPr lang="en-GB" sz="800" dirty="0" smtClean="0">
                <a:solidFill>
                  <a:schemeClr val="accent1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" "</a:t>
            </a:r>
            <a:r>
              <a:rPr lang="en-GB" sz="800" dirty="0" err="1" smtClean="0">
                <a:solidFill>
                  <a:schemeClr val="accent1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mlr.selectFeatures</a:t>
            </a:r>
            <a:r>
              <a:rPr lang="en-GB" sz="800" dirty="0" smtClean="0">
                <a:solidFill>
                  <a:schemeClr val="accent1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" "</a:t>
            </a:r>
            <a:r>
              <a:rPr lang="en-GB" sz="800" dirty="0" err="1" smtClean="0">
                <a:solidFill>
                  <a:schemeClr val="accent1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mlr.tuneParams</a:t>
            </a:r>
            <a:r>
              <a:rPr lang="en-GB" sz="800" dirty="0" smtClean="0">
                <a:solidFill>
                  <a:schemeClr val="accent1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" "</a:t>
            </a:r>
            <a:r>
              <a:rPr lang="en-GB" sz="800" dirty="0" err="1" smtClean="0">
                <a:solidFill>
                  <a:schemeClr val="accent1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mlr.ensemble</a:t>
            </a:r>
            <a:r>
              <a:rPr lang="en-GB" sz="800" dirty="0" smtClean="0">
                <a:solidFill>
                  <a:schemeClr val="accent1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"</a:t>
            </a:r>
          </a:p>
          <a:p>
            <a:pPr lvl="0" algn="l">
              <a:buClr>
                <a:srgbClr val="1D4BA8"/>
              </a:buClr>
              <a:defRPr sz="1000">
                <a:latin typeface="Menlo"/>
                <a:ea typeface="Menlo"/>
                <a:cs typeface="Menlo"/>
                <a:sym typeface="Menlo"/>
              </a:defRPr>
            </a:pPr>
            <a:endParaRPr lang="en-GB" sz="800" dirty="0" smtClean="0">
              <a:solidFill>
                <a:schemeClr val="accent1"/>
              </a:solidFill>
              <a:latin typeface="Consolas" panose="020B0609020204030204" pitchFamily="49" charset="0"/>
              <a:ea typeface="Source Sans Pro" panose="020B0503030403020204" pitchFamily="34" charset="0"/>
              <a:cs typeface="Courier New" panose="02070309020205020404" pitchFamily="49" charset="0"/>
              <a:sym typeface="Menlo"/>
            </a:endParaRPr>
          </a:p>
          <a:p>
            <a:pPr lvl="0" algn="l">
              <a:buClr>
                <a:srgbClr val="1D4BA8"/>
              </a:buClr>
              <a:defRPr sz="1000">
                <a:latin typeface="Menlo"/>
                <a:ea typeface="Menlo"/>
                <a:cs typeface="Menlo"/>
                <a:sym typeface="Menlo"/>
              </a:defRPr>
            </a:pPr>
            <a:r>
              <a:rPr lang="en-GB" sz="800" dirty="0" smtClean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To end parallelization, use </a:t>
            </a:r>
            <a:r>
              <a:rPr lang="en-GB" sz="800" dirty="0" err="1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parallelStop</a:t>
            </a:r>
            <a:r>
              <a:rPr lang="en-GB" sz="800" dirty="0" smtClean="0">
                <a:solidFill>
                  <a:srgbClr val="0070C0"/>
                </a:solidFill>
                <a:latin typeface="Consolas" panose="020B0609020204030204" pitchFamily="49" charset="0"/>
                <a:ea typeface="Source Sans Pro" panose="020B0503030403020204" pitchFamily="34" charset="0"/>
                <a:cs typeface="Courier New" panose="02070309020205020404" pitchFamily="49" charset="0"/>
                <a:sym typeface="Menlo"/>
              </a:rPr>
              <a:t>()</a:t>
            </a:r>
          </a:p>
        </p:txBody>
      </p:sp>
      <p:sp>
        <p:nvSpPr>
          <p:cNvPr id="110" name="Shape 38"/>
          <p:cNvSpPr/>
          <p:nvPr/>
        </p:nvSpPr>
        <p:spPr>
          <a:xfrm>
            <a:off x="252130" y="3437273"/>
            <a:ext cx="3263902" cy="337903"/>
          </a:xfrm>
          <a:prstGeom prst="roundRect">
            <a:avLst>
              <a:gd name="adj" fmla="val 20098"/>
            </a:avLst>
          </a:prstGeom>
          <a:solidFill>
            <a:srgbClr val="1D4BA8"/>
          </a:solidFill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 anchor="ctr"/>
          <a:lstStyle/>
          <a:p>
            <a:pPr lvl="1" indent="0">
              <a:defRPr sz="1800"/>
            </a:pPr>
            <a:r>
              <a:rPr lang="en-GB" sz="2000" dirty="0" smtClean="0">
                <a:solidFill>
                  <a:srgbClr val="FFFFFF"/>
                </a:solidFill>
                <a:latin typeface="Arial" panose="020B0604020202020204" pitchFamily="34" charset="0"/>
                <a:ea typeface="Source Sans Pro"/>
                <a:cs typeface="Arial" panose="020B0604020202020204" pitchFamily="34" charset="0"/>
                <a:sym typeface="Source Sans Pro"/>
              </a:rPr>
              <a:t>Parallelization</a:t>
            </a:r>
            <a:endParaRPr sz="2000" dirty="0">
              <a:solidFill>
                <a:srgbClr val="FFFFFF"/>
              </a:solidFill>
              <a:latin typeface="Arial" panose="020B0604020202020204" pitchFamily="34" charset="0"/>
              <a:ea typeface="Source Sans Pro"/>
              <a:cs typeface="Arial" panose="020B0604020202020204" pitchFamily="34" charset="0"/>
              <a:sym typeface="Source Sans Pro"/>
            </a:endParaRPr>
          </a:p>
        </p:txBody>
      </p:sp>
      <p:sp>
        <p:nvSpPr>
          <p:cNvPr id="41" name="Rectangle 40"/>
          <p:cNvSpPr/>
          <p:nvPr/>
        </p:nvSpPr>
        <p:spPr>
          <a:xfrm rot="16200000">
            <a:off x="3760809" y="1283052"/>
            <a:ext cx="492172" cy="10476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54570" tIns="54570" rIns="54570" bIns="54570" numCol="1" spcCol="38100" rtlCol="0" anchor="ctr">
            <a:sp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6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42" name="Rectangle 41"/>
          <p:cNvSpPr/>
          <p:nvPr/>
        </p:nvSpPr>
        <p:spPr>
          <a:xfrm rot="16200000">
            <a:off x="3931631" y="1309417"/>
            <a:ext cx="439439" cy="10476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54570" tIns="54570" rIns="54570" bIns="54570" numCol="1" spcCol="38100" rtlCol="0" anchor="ctr">
            <a:sp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6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43" name="Rectangle 42"/>
          <p:cNvSpPr/>
          <p:nvPr/>
        </p:nvSpPr>
        <p:spPr>
          <a:xfrm rot="16200000">
            <a:off x="4109890" y="1343221"/>
            <a:ext cx="371833" cy="10476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54570" tIns="54570" rIns="54570" bIns="54570" numCol="1" spcCol="38100" rtlCol="0" anchor="ctr">
            <a:sp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6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44" name="Rectangle 43"/>
          <p:cNvSpPr/>
          <p:nvPr/>
        </p:nvSpPr>
        <p:spPr>
          <a:xfrm rot="16200000">
            <a:off x="4343585" y="1432460"/>
            <a:ext cx="193353" cy="104761"/>
          </a:xfrm>
          <a:prstGeom prst="rect">
            <a:avLst/>
          </a:prstGeom>
          <a:ln w="19050"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54570" tIns="54570" rIns="54570" bIns="54570" numCol="1" spcCol="38100" rtlCol="0" anchor="ctr">
            <a:sp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6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45" name="Rectangle 44"/>
          <p:cNvSpPr/>
          <p:nvPr/>
        </p:nvSpPr>
        <p:spPr>
          <a:xfrm rot="16200000">
            <a:off x="4500887" y="1445306"/>
            <a:ext cx="167662" cy="104761"/>
          </a:xfrm>
          <a:prstGeom prst="rect">
            <a:avLst/>
          </a:prstGeom>
          <a:ln w="19050"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54570" tIns="54570" rIns="54570" bIns="54570" numCol="1" spcCol="38100" rtlCol="0" anchor="ctr">
            <a:sp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6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46" name="Rectangle 45"/>
          <p:cNvSpPr/>
          <p:nvPr/>
        </p:nvSpPr>
        <p:spPr>
          <a:xfrm rot="16200000">
            <a:off x="4671709" y="1471671"/>
            <a:ext cx="114929" cy="104761"/>
          </a:xfrm>
          <a:prstGeom prst="rect">
            <a:avLst/>
          </a:prstGeom>
          <a:ln w="19050"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54570" tIns="54570" rIns="54570" bIns="54570" numCol="1" spcCol="38100" rtlCol="0" anchor="ctr">
            <a:sp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6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cxnSp>
        <p:nvCxnSpPr>
          <p:cNvPr id="9" name="Straight Connector 8"/>
          <p:cNvCxnSpPr/>
          <p:nvPr/>
        </p:nvCxnSpPr>
        <p:spPr>
          <a:xfrm flipV="1">
            <a:off x="4363541" y="1089346"/>
            <a:ext cx="0" cy="656023"/>
          </a:xfrm>
          <a:prstGeom prst="line">
            <a:avLst/>
          </a:prstGeom>
          <a:noFill/>
          <a:ln w="19050" cap="flat">
            <a:solidFill>
              <a:srgbClr val="000000"/>
            </a:solidFill>
            <a:prstDash val="dash"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22" name="Rectangle 121"/>
          <p:cNvSpPr/>
          <p:nvPr/>
        </p:nvSpPr>
        <p:spPr>
          <a:xfrm>
            <a:off x="3954071" y="1608560"/>
            <a:ext cx="105648" cy="115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54570" tIns="54570" rIns="54570" bIns="54570" numCol="1" spcCol="38100" rtlCol="0" anchor="ctr">
            <a:no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800" b="1" i="0" u="none" strike="noStrike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Source Sans Pro" panose="020B0503030403020204" pitchFamily="34" charset="0"/>
                <a:ea typeface="Source Sans Pro" panose="020B0503030403020204" pitchFamily="34" charset="0"/>
                <a:sym typeface="Helvetica Light"/>
              </a:rPr>
              <a:t>A</a:t>
            </a:r>
            <a:endParaRPr kumimoji="0" lang="en-US" sz="80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Source Sans Pro" panose="020B0503030403020204" pitchFamily="34" charset="0"/>
              <a:ea typeface="Source Sans Pro" panose="020B0503030403020204" pitchFamily="34" charset="0"/>
              <a:sym typeface="Helvetica Light"/>
            </a:endParaRPr>
          </a:p>
        </p:txBody>
      </p:sp>
      <p:sp>
        <p:nvSpPr>
          <p:cNvPr id="128" name="Rectangle 127"/>
          <p:cNvSpPr/>
          <p:nvPr/>
        </p:nvSpPr>
        <p:spPr>
          <a:xfrm>
            <a:off x="4097606" y="1608560"/>
            <a:ext cx="105648" cy="115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54570" tIns="54570" rIns="54570" bIns="54570" numCol="1" spcCol="38100" rtlCol="0" anchor="ctr">
            <a:no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800" b="1" i="0" u="none" strike="noStrike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Source Sans Pro" panose="020B0503030403020204" pitchFamily="34" charset="0"/>
                <a:ea typeface="Source Sans Pro" panose="020B0503030403020204" pitchFamily="34" charset="0"/>
                <a:sym typeface="Helvetica Light"/>
              </a:rPr>
              <a:t>C</a:t>
            </a:r>
            <a:endParaRPr kumimoji="0" lang="en-US" sz="80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Source Sans Pro" panose="020B0503030403020204" pitchFamily="34" charset="0"/>
              <a:ea typeface="Source Sans Pro" panose="020B0503030403020204" pitchFamily="34" charset="0"/>
              <a:sym typeface="Helvetica Light"/>
            </a:endParaRPr>
          </a:p>
        </p:txBody>
      </p:sp>
      <p:sp>
        <p:nvSpPr>
          <p:cNvPr id="129" name="Rectangle 128"/>
          <p:cNvSpPr/>
          <p:nvPr/>
        </p:nvSpPr>
        <p:spPr>
          <a:xfrm>
            <a:off x="4244143" y="1608560"/>
            <a:ext cx="105648" cy="1150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54570" tIns="54570" rIns="54570" bIns="54570" numCol="1" spcCol="38100" rtlCol="0" anchor="ctr">
            <a:no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800" b="1" i="0" u="none" strike="noStrike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Source Sans Pro" panose="020B0503030403020204" pitchFamily="34" charset="0"/>
                <a:ea typeface="Source Sans Pro" panose="020B0503030403020204" pitchFamily="34" charset="0"/>
                <a:sym typeface="Helvetica Light"/>
              </a:rPr>
              <a:t>D</a:t>
            </a:r>
            <a:endParaRPr kumimoji="0" lang="en-US" sz="80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Source Sans Pro" panose="020B0503030403020204" pitchFamily="34" charset="0"/>
              <a:ea typeface="Source Sans Pro" panose="020B0503030403020204" pitchFamily="34" charset="0"/>
              <a:sym typeface="Helvetica Light"/>
            </a:endParaRPr>
          </a:p>
        </p:txBody>
      </p:sp>
      <p:sp>
        <p:nvSpPr>
          <p:cNvPr id="113" name="Rectangle 112"/>
          <p:cNvSpPr/>
          <p:nvPr/>
        </p:nvSpPr>
        <p:spPr>
          <a:xfrm>
            <a:off x="4392872" y="1608560"/>
            <a:ext cx="105648" cy="115099"/>
          </a:xfrm>
          <a:prstGeom prst="rect">
            <a:avLst/>
          </a:prstGeom>
          <a:solidFill>
            <a:schemeClr val="bg1"/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54570" tIns="54570" rIns="54570" bIns="54570" numCol="1" spcCol="38100" rtlCol="0" anchor="ctr">
            <a:no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800" b="1" i="0" u="none" strike="noStrike" cap="none" spc="0" normalizeH="0" baseline="0" dirty="0" smtClean="0">
                <a:ln>
                  <a:noFill/>
                </a:ln>
                <a:solidFill>
                  <a:srgbClr val="C00000"/>
                </a:solidFill>
                <a:effectLst/>
                <a:uFillTx/>
                <a:latin typeface="Source Sans Pro" panose="020B0503030403020204" pitchFamily="34" charset="0"/>
                <a:ea typeface="Source Sans Pro" panose="020B0503030403020204" pitchFamily="34" charset="0"/>
                <a:sym typeface="Helvetica Light"/>
              </a:rPr>
              <a:t>B</a:t>
            </a:r>
            <a:endParaRPr kumimoji="0" lang="en-US" sz="800" b="1" i="0" u="none" strike="noStrike" cap="none" spc="0" normalizeH="0" baseline="0" dirty="0">
              <a:ln>
                <a:noFill/>
              </a:ln>
              <a:solidFill>
                <a:srgbClr val="C00000"/>
              </a:solidFill>
              <a:effectLst/>
              <a:uFillTx/>
              <a:latin typeface="Source Sans Pro" panose="020B0503030403020204" pitchFamily="34" charset="0"/>
              <a:ea typeface="Source Sans Pro" panose="020B0503030403020204" pitchFamily="34" charset="0"/>
              <a:sym typeface="Helvetica Light"/>
            </a:endParaRPr>
          </a:p>
        </p:txBody>
      </p:sp>
      <p:sp>
        <p:nvSpPr>
          <p:cNvPr id="115" name="Rectangle 114"/>
          <p:cNvSpPr/>
          <p:nvPr/>
        </p:nvSpPr>
        <p:spPr>
          <a:xfrm>
            <a:off x="4530646" y="1608560"/>
            <a:ext cx="105648" cy="115099"/>
          </a:xfrm>
          <a:prstGeom prst="rect">
            <a:avLst/>
          </a:prstGeom>
          <a:solidFill>
            <a:schemeClr val="bg1"/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54570" tIns="54570" rIns="54570" bIns="54570" numCol="1" spcCol="38100" rtlCol="0" anchor="ctr">
            <a:no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800" b="1" i="0" u="none" strike="noStrike" cap="none" spc="0" normalizeH="0" baseline="0" dirty="0" smtClean="0">
                <a:ln>
                  <a:noFill/>
                </a:ln>
                <a:solidFill>
                  <a:srgbClr val="C00000"/>
                </a:solidFill>
                <a:effectLst/>
                <a:uFillTx/>
                <a:latin typeface="Source Sans Pro" panose="020B0503030403020204" pitchFamily="34" charset="0"/>
                <a:ea typeface="Source Sans Pro" panose="020B0503030403020204" pitchFamily="34" charset="0"/>
                <a:sym typeface="Helvetica Light"/>
              </a:rPr>
              <a:t>F</a:t>
            </a:r>
            <a:endParaRPr kumimoji="0" lang="en-US" sz="800" b="1" i="0" u="none" strike="noStrike" cap="none" spc="0" normalizeH="0" baseline="0" dirty="0">
              <a:ln>
                <a:noFill/>
              </a:ln>
              <a:solidFill>
                <a:srgbClr val="C00000"/>
              </a:solidFill>
              <a:effectLst/>
              <a:uFillTx/>
              <a:latin typeface="Source Sans Pro" panose="020B0503030403020204" pitchFamily="34" charset="0"/>
              <a:ea typeface="Source Sans Pro" panose="020B0503030403020204" pitchFamily="34" charset="0"/>
              <a:sym typeface="Helvetica Light"/>
            </a:endParaRPr>
          </a:p>
        </p:txBody>
      </p:sp>
      <p:sp>
        <p:nvSpPr>
          <p:cNvPr id="117" name="Rectangle 116"/>
          <p:cNvSpPr/>
          <p:nvPr/>
        </p:nvSpPr>
        <p:spPr>
          <a:xfrm>
            <a:off x="4677377" y="1608560"/>
            <a:ext cx="105648" cy="115099"/>
          </a:xfrm>
          <a:prstGeom prst="rect">
            <a:avLst/>
          </a:prstGeom>
          <a:solidFill>
            <a:schemeClr val="bg1"/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54570" tIns="54570" rIns="54570" bIns="54570" numCol="1" spcCol="38100" rtlCol="0" anchor="ctr">
            <a:no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800" b="1" i="0" u="none" strike="noStrike" cap="none" spc="0" normalizeH="0" baseline="0" dirty="0" smtClean="0">
                <a:ln>
                  <a:noFill/>
                </a:ln>
                <a:solidFill>
                  <a:srgbClr val="C00000"/>
                </a:solidFill>
                <a:effectLst/>
                <a:uFillTx/>
                <a:latin typeface="Source Sans Pro" panose="020B0503030403020204" pitchFamily="34" charset="0"/>
                <a:ea typeface="Source Sans Pro" panose="020B0503030403020204" pitchFamily="34" charset="0"/>
                <a:sym typeface="Helvetica Light"/>
              </a:rPr>
              <a:t>E</a:t>
            </a:r>
            <a:endParaRPr kumimoji="0" lang="en-US" sz="800" b="1" i="0" u="none" strike="noStrike" cap="none" spc="0" normalizeH="0" baseline="0" dirty="0">
              <a:ln>
                <a:noFill/>
              </a:ln>
              <a:solidFill>
                <a:srgbClr val="C00000"/>
              </a:solidFill>
              <a:effectLst/>
              <a:uFillTx/>
              <a:latin typeface="Source Sans Pro" panose="020B0503030403020204" pitchFamily="34" charset="0"/>
              <a:ea typeface="Source Sans Pro" panose="020B0503030403020204" pitchFamily="34" charset="0"/>
              <a:sym typeface="Helvetica Light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3956363" y="3606220"/>
            <a:ext cx="873026" cy="589541"/>
            <a:chOff x="3956363" y="3606220"/>
            <a:chExt cx="873026" cy="589541"/>
          </a:xfrm>
        </p:grpSpPr>
        <p:sp>
          <p:nvSpPr>
            <p:cNvPr id="138" name="Rectangle 137"/>
            <p:cNvSpPr/>
            <p:nvPr/>
          </p:nvSpPr>
          <p:spPr>
            <a:xfrm>
              <a:off x="3956363" y="3606220"/>
              <a:ext cx="105846" cy="101855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no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700" b="1" i="0" u="none" strike="noStrike" cap="none" spc="0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uFillTx/>
                  <a:latin typeface="Source Sans Pro" panose="020B0503030403020204" pitchFamily="34" charset="0"/>
                  <a:ea typeface="Source Sans Pro" panose="020B0503030403020204" pitchFamily="34" charset="0"/>
                  <a:sym typeface="Helvetica Light"/>
                </a:rPr>
                <a:t>A</a:t>
              </a:r>
              <a:endParaRPr kumimoji="0" lang="en-US" sz="700" b="1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Source Sans Pro" panose="020B0503030403020204" pitchFamily="34" charset="0"/>
                <a:ea typeface="Source Sans Pro" panose="020B0503030403020204" pitchFamily="34" charset="0"/>
                <a:sym typeface="Helvetica Light"/>
              </a:endParaRPr>
            </a:p>
          </p:txBody>
        </p:sp>
        <p:sp>
          <p:nvSpPr>
            <p:cNvPr id="139" name="Rectangle 138"/>
            <p:cNvSpPr/>
            <p:nvPr/>
          </p:nvSpPr>
          <p:spPr>
            <a:xfrm>
              <a:off x="4084878" y="3606220"/>
              <a:ext cx="105846" cy="101855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no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700" b="1" i="0" u="none" strike="noStrike" cap="none" spc="0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uFillTx/>
                  <a:latin typeface="Source Sans Pro" panose="020B0503030403020204" pitchFamily="34" charset="0"/>
                  <a:ea typeface="Source Sans Pro" panose="020B0503030403020204" pitchFamily="34" charset="0"/>
                  <a:sym typeface="Helvetica Light"/>
                </a:rPr>
                <a:t>B</a:t>
              </a:r>
              <a:endParaRPr kumimoji="0" lang="en-US" sz="700" b="1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Source Sans Pro" panose="020B0503030403020204" pitchFamily="34" charset="0"/>
                <a:ea typeface="Source Sans Pro" panose="020B0503030403020204" pitchFamily="34" charset="0"/>
                <a:sym typeface="Helvetica Light"/>
              </a:endParaRPr>
            </a:p>
          </p:txBody>
        </p:sp>
        <p:sp>
          <p:nvSpPr>
            <p:cNvPr id="140" name="Rectangle 139"/>
            <p:cNvSpPr/>
            <p:nvPr/>
          </p:nvSpPr>
          <p:spPr>
            <a:xfrm>
              <a:off x="4213394" y="3606220"/>
              <a:ext cx="105846" cy="101855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no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700" b="1" i="0" u="none" strike="noStrike" cap="none" spc="0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uFillTx/>
                  <a:latin typeface="Source Sans Pro" panose="020B0503030403020204" pitchFamily="34" charset="0"/>
                  <a:ea typeface="Source Sans Pro" panose="020B0503030403020204" pitchFamily="34" charset="0"/>
                  <a:sym typeface="Helvetica Light"/>
                </a:rPr>
                <a:t>C</a:t>
              </a:r>
              <a:endParaRPr kumimoji="0" lang="en-US" sz="700" b="1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Source Sans Pro" panose="020B0503030403020204" pitchFamily="34" charset="0"/>
                <a:ea typeface="Source Sans Pro" panose="020B0503030403020204" pitchFamily="34" charset="0"/>
                <a:sym typeface="Helvetica Light"/>
              </a:endParaRPr>
            </a:p>
          </p:txBody>
        </p:sp>
        <p:sp>
          <p:nvSpPr>
            <p:cNvPr id="141" name="Rectangle 140"/>
            <p:cNvSpPr/>
            <p:nvPr/>
          </p:nvSpPr>
          <p:spPr>
            <a:xfrm>
              <a:off x="4341909" y="3606220"/>
              <a:ext cx="105846" cy="101855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no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700" b="1" i="0" u="none" strike="noStrike" cap="none" spc="0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uFillTx/>
                  <a:latin typeface="Source Sans Pro" panose="020B0503030403020204" pitchFamily="34" charset="0"/>
                  <a:ea typeface="Source Sans Pro" panose="020B0503030403020204" pitchFamily="34" charset="0"/>
                  <a:sym typeface="Helvetica Light"/>
                </a:rPr>
                <a:t>D</a:t>
              </a:r>
              <a:endParaRPr kumimoji="0" lang="en-US" sz="700" b="1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Source Sans Pro" panose="020B0503030403020204" pitchFamily="34" charset="0"/>
                <a:ea typeface="Source Sans Pro" panose="020B0503030403020204" pitchFamily="34" charset="0"/>
                <a:sym typeface="Helvetica Light"/>
              </a:endParaRPr>
            </a:p>
          </p:txBody>
        </p:sp>
        <p:sp>
          <p:nvSpPr>
            <p:cNvPr id="142" name="Rectangle 141"/>
            <p:cNvSpPr/>
            <p:nvPr/>
          </p:nvSpPr>
          <p:spPr>
            <a:xfrm>
              <a:off x="4470424" y="3606220"/>
              <a:ext cx="105846" cy="101855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no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700" b="1" i="0" u="none" strike="noStrike" cap="none" spc="0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uFillTx/>
                  <a:latin typeface="Source Sans Pro" panose="020B0503030403020204" pitchFamily="34" charset="0"/>
                  <a:ea typeface="Source Sans Pro" panose="020B0503030403020204" pitchFamily="34" charset="0"/>
                  <a:sym typeface="Helvetica Light"/>
                </a:rPr>
                <a:t>E</a:t>
              </a:r>
              <a:endParaRPr kumimoji="0" lang="en-US" sz="700" b="1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Source Sans Pro" panose="020B0503030403020204" pitchFamily="34" charset="0"/>
                <a:ea typeface="Source Sans Pro" panose="020B0503030403020204" pitchFamily="34" charset="0"/>
                <a:sym typeface="Helvetica Light"/>
              </a:endParaRPr>
            </a:p>
          </p:txBody>
        </p:sp>
        <p:sp>
          <p:nvSpPr>
            <p:cNvPr id="8" name="Rectangle 7"/>
            <p:cNvSpPr/>
            <p:nvPr/>
          </p:nvSpPr>
          <p:spPr>
            <a:xfrm>
              <a:off x="4591162" y="3606224"/>
              <a:ext cx="90663" cy="101855"/>
            </a:xfrm>
            <a:prstGeom prst="rect">
              <a:avLst/>
            </a:prstGeom>
            <a:solidFill>
              <a:srgbClr val="FF0000"/>
            </a:solidFill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158" name="Rectangle 157"/>
            <p:cNvSpPr/>
            <p:nvPr/>
          </p:nvSpPr>
          <p:spPr>
            <a:xfrm>
              <a:off x="4591162" y="3728144"/>
              <a:ext cx="125091" cy="101855"/>
            </a:xfrm>
            <a:prstGeom prst="rect">
              <a:avLst/>
            </a:prstGeom>
            <a:solidFill>
              <a:srgbClr val="FFC000"/>
            </a:solidFill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159" name="Rectangle 158"/>
            <p:cNvSpPr/>
            <p:nvPr/>
          </p:nvSpPr>
          <p:spPr>
            <a:xfrm>
              <a:off x="4591162" y="3850066"/>
              <a:ext cx="143907" cy="101855"/>
            </a:xfrm>
            <a:prstGeom prst="rect">
              <a:avLst/>
            </a:prstGeom>
            <a:solidFill>
              <a:srgbClr val="FFFF00"/>
            </a:solidFill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160" name="Rectangle 159"/>
            <p:cNvSpPr/>
            <p:nvPr/>
          </p:nvSpPr>
          <p:spPr>
            <a:xfrm>
              <a:off x="4591162" y="3971985"/>
              <a:ext cx="199307" cy="101855"/>
            </a:xfrm>
            <a:prstGeom prst="rect">
              <a:avLst/>
            </a:prstGeom>
            <a:solidFill>
              <a:srgbClr val="92D050"/>
            </a:solidFill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161" name="Rectangle 160"/>
            <p:cNvSpPr/>
            <p:nvPr/>
          </p:nvSpPr>
          <p:spPr>
            <a:xfrm>
              <a:off x="4591162" y="4093906"/>
              <a:ext cx="238227" cy="101855"/>
            </a:xfrm>
            <a:prstGeom prst="rect">
              <a:avLst/>
            </a:prstGeom>
            <a:solidFill>
              <a:srgbClr val="00B050"/>
            </a:solidFill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162" name="Rectangle 161"/>
            <p:cNvSpPr/>
            <p:nvPr/>
          </p:nvSpPr>
          <p:spPr>
            <a:xfrm>
              <a:off x="3956363" y="3728141"/>
              <a:ext cx="105846" cy="101855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no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700" b="1" i="0" u="none" strike="noStrike" cap="none" spc="0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uFillTx/>
                  <a:latin typeface="Source Sans Pro" panose="020B0503030403020204" pitchFamily="34" charset="0"/>
                  <a:ea typeface="Source Sans Pro" panose="020B0503030403020204" pitchFamily="34" charset="0"/>
                  <a:sym typeface="Helvetica Light"/>
                </a:rPr>
                <a:t>A</a:t>
              </a:r>
              <a:endParaRPr kumimoji="0" lang="en-US" sz="700" b="1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Source Sans Pro" panose="020B0503030403020204" pitchFamily="34" charset="0"/>
                <a:ea typeface="Source Sans Pro" panose="020B0503030403020204" pitchFamily="34" charset="0"/>
                <a:sym typeface="Helvetica Light"/>
              </a:endParaRPr>
            </a:p>
          </p:txBody>
        </p:sp>
        <p:sp>
          <p:nvSpPr>
            <p:cNvPr id="163" name="Rectangle 162"/>
            <p:cNvSpPr/>
            <p:nvPr/>
          </p:nvSpPr>
          <p:spPr>
            <a:xfrm>
              <a:off x="4084878" y="3728141"/>
              <a:ext cx="105846" cy="101855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no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700" b="1" i="0" u="none" strike="noStrike" cap="none" spc="0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uFillTx/>
                  <a:latin typeface="Source Sans Pro" panose="020B0503030403020204" pitchFamily="34" charset="0"/>
                  <a:ea typeface="Source Sans Pro" panose="020B0503030403020204" pitchFamily="34" charset="0"/>
                  <a:sym typeface="Helvetica Light"/>
                </a:rPr>
                <a:t>B</a:t>
              </a:r>
              <a:endParaRPr kumimoji="0" lang="en-US" sz="700" b="1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Source Sans Pro" panose="020B0503030403020204" pitchFamily="34" charset="0"/>
                <a:ea typeface="Source Sans Pro" panose="020B0503030403020204" pitchFamily="34" charset="0"/>
                <a:sym typeface="Helvetica Light"/>
              </a:endParaRPr>
            </a:p>
          </p:txBody>
        </p:sp>
        <p:sp>
          <p:nvSpPr>
            <p:cNvPr id="164" name="Rectangle 163"/>
            <p:cNvSpPr/>
            <p:nvPr/>
          </p:nvSpPr>
          <p:spPr>
            <a:xfrm>
              <a:off x="4213394" y="3728141"/>
              <a:ext cx="105846" cy="101855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no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700" b="1" i="0" u="none" strike="noStrike" cap="none" spc="0" normalizeH="0" baseline="0" dirty="0" smtClean="0">
                  <a:ln>
                    <a:noFill/>
                  </a:ln>
                  <a:solidFill>
                    <a:srgbClr val="C00000"/>
                  </a:solidFill>
                  <a:effectLst/>
                  <a:uFillTx/>
                  <a:latin typeface="Source Sans Pro" panose="020B0503030403020204" pitchFamily="34" charset="0"/>
                  <a:ea typeface="Source Sans Pro" panose="020B0503030403020204" pitchFamily="34" charset="0"/>
                  <a:sym typeface="Helvetica Light"/>
                </a:rPr>
                <a:t>C</a:t>
              </a:r>
              <a:endParaRPr kumimoji="0" lang="en-US" sz="700" b="1" i="0" u="none" strike="noStrike" cap="none" spc="0" normalizeH="0" baseline="0" dirty="0">
                <a:ln>
                  <a:noFill/>
                </a:ln>
                <a:solidFill>
                  <a:srgbClr val="C00000"/>
                </a:solidFill>
                <a:effectLst/>
                <a:uFillTx/>
                <a:latin typeface="Source Sans Pro" panose="020B0503030403020204" pitchFamily="34" charset="0"/>
                <a:ea typeface="Source Sans Pro" panose="020B0503030403020204" pitchFamily="34" charset="0"/>
                <a:sym typeface="Helvetica Light"/>
              </a:endParaRPr>
            </a:p>
          </p:txBody>
        </p:sp>
        <p:sp>
          <p:nvSpPr>
            <p:cNvPr id="165" name="Rectangle 164"/>
            <p:cNvSpPr/>
            <p:nvPr/>
          </p:nvSpPr>
          <p:spPr>
            <a:xfrm>
              <a:off x="4341909" y="3728141"/>
              <a:ext cx="105846" cy="101855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no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700" b="1" i="0" u="none" strike="noStrike" cap="none" spc="0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uFillTx/>
                  <a:latin typeface="Source Sans Pro" panose="020B0503030403020204" pitchFamily="34" charset="0"/>
                  <a:ea typeface="Source Sans Pro" panose="020B0503030403020204" pitchFamily="34" charset="0"/>
                  <a:sym typeface="Helvetica Light"/>
                </a:rPr>
                <a:t>D</a:t>
              </a:r>
              <a:endParaRPr kumimoji="0" lang="en-US" sz="700" b="1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Source Sans Pro" panose="020B0503030403020204" pitchFamily="34" charset="0"/>
                <a:ea typeface="Source Sans Pro" panose="020B0503030403020204" pitchFamily="34" charset="0"/>
                <a:sym typeface="Helvetica Light"/>
              </a:endParaRPr>
            </a:p>
          </p:txBody>
        </p:sp>
        <p:sp>
          <p:nvSpPr>
            <p:cNvPr id="166" name="Rectangle 165"/>
            <p:cNvSpPr/>
            <p:nvPr/>
          </p:nvSpPr>
          <p:spPr>
            <a:xfrm>
              <a:off x="4470424" y="3728141"/>
              <a:ext cx="105846" cy="101855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no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700" b="1" i="0" u="none" strike="noStrike" cap="none" spc="0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uFillTx/>
                  <a:latin typeface="Source Sans Pro" panose="020B0503030403020204" pitchFamily="34" charset="0"/>
                  <a:ea typeface="Source Sans Pro" panose="020B0503030403020204" pitchFamily="34" charset="0"/>
                  <a:sym typeface="Helvetica Light"/>
                </a:rPr>
                <a:t>E</a:t>
              </a:r>
              <a:endParaRPr kumimoji="0" lang="en-US" sz="700" b="1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Source Sans Pro" panose="020B0503030403020204" pitchFamily="34" charset="0"/>
                <a:ea typeface="Source Sans Pro" panose="020B0503030403020204" pitchFamily="34" charset="0"/>
                <a:sym typeface="Helvetica Light"/>
              </a:endParaRPr>
            </a:p>
          </p:txBody>
        </p:sp>
        <p:sp>
          <p:nvSpPr>
            <p:cNvPr id="167" name="Rectangle 166"/>
            <p:cNvSpPr/>
            <p:nvPr/>
          </p:nvSpPr>
          <p:spPr>
            <a:xfrm>
              <a:off x="3956363" y="3850063"/>
              <a:ext cx="105846" cy="101855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no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700" b="1" i="0" u="none" strike="noStrike" cap="none" spc="0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uFillTx/>
                  <a:latin typeface="Source Sans Pro" panose="020B0503030403020204" pitchFamily="34" charset="0"/>
                  <a:ea typeface="Source Sans Pro" panose="020B0503030403020204" pitchFamily="34" charset="0"/>
                  <a:sym typeface="Helvetica Light"/>
                </a:rPr>
                <a:t>A</a:t>
              </a:r>
              <a:endParaRPr kumimoji="0" lang="en-US" sz="700" b="1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Source Sans Pro" panose="020B0503030403020204" pitchFamily="34" charset="0"/>
                <a:ea typeface="Source Sans Pro" panose="020B0503030403020204" pitchFamily="34" charset="0"/>
                <a:sym typeface="Helvetica Light"/>
              </a:endParaRPr>
            </a:p>
          </p:txBody>
        </p:sp>
        <p:sp>
          <p:nvSpPr>
            <p:cNvPr id="168" name="Rectangle 167"/>
            <p:cNvSpPr/>
            <p:nvPr/>
          </p:nvSpPr>
          <p:spPr>
            <a:xfrm>
              <a:off x="4084878" y="3850063"/>
              <a:ext cx="105846" cy="101855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no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700" b="1" i="0" u="none" strike="noStrike" cap="none" spc="0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uFillTx/>
                  <a:latin typeface="Source Sans Pro" panose="020B0503030403020204" pitchFamily="34" charset="0"/>
                  <a:ea typeface="Source Sans Pro" panose="020B0503030403020204" pitchFamily="34" charset="0"/>
                  <a:sym typeface="Helvetica Light"/>
                </a:rPr>
                <a:t>B</a:t>
              </a:r>
              <a:endParaRPr kumimoji="0" lang="en-US" sz="700" b="1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Source Sans Pro" panose="020B0503030403020204" pitchFamily="34" charset="0"/>
                <a:ea typeface="Source Sans Pro" panose="020B0503030403020204" pitchFamily="34" charset="0"/>
                <a:sym typeface="Helvetica Light"/>
              </a:endParaRPr>
            </a:p>
          </p:txBody>
        </p:sp>
        <p:sp>
          <p:nvSpPr>
            <p:cNvPr id="169" name="Rectangle 168"/>
            <p:cNvSpPr/>
            <p:nvPr/>
          </p:nvSpPr>
          <p:spPr>
            <a:xfrm>
              <a:off x="4213394" y="3850063"/>
              <a:ext cx="105846" cy="101855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no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700" b="1" i="0" u="none" strike="noStrike" cap="none" spc="0" normalizeH="0" baseline="0" dirty="0" smtClean="0">
                  <a:ln>
                    <a:noFill/>
                  </a:ln>
                  <a:solidFill>
                    <a:srgbClr val="C00000"/>
                  </a:solidFill>
                  <a:effectLst/>
                  <a:uFillTx/>
                  <a:latin typeface="Source Sans Pro" panose="020B0503030403020204" pitchFamily="34" charset="0"/>
                  <a:ea typeface="Source Sans Pro" panose="020B0503030403020204" pitchFamily="34" charset="0"/>
                  <a:sym typeface="Helvetica Light"/>
                </a:rPr>
                <a:t>C</a:t>
              </a:r>
              <a:endParaRPr kumimoji="0" lang="en-US" sz="700" b="1" i="0" u="none" strike="noStrike" cap="none" spc="0" normalizeH="0" baseline="0" dirty="0">
                <a:ln>
                  <a:noFill/>
                </a:ln>
                <a:solidFill>
                  <a:srgbClr val="C00000"/>
                </a:solidFill>
                <a:effectLst/>
                <a:uFillTx/>
                <a:latin typeface="Source Sans Pro" panose="020B0503030403020204" pitchFamily="34" charset="0"/>
                <a:ea typeface="Source Sans Pro" panose="020B0503030403020204" pitchFamily="34" charset="0"/>
                <a:sym typeface="Helvetica Light"/>
              </a:endParaRPr>
            </a:p>
          </p:txBody>
        </p:sp>
        <p:sp>
          <p:nvSpPr>
            <p:cNvPr id="170" name="Rectangle 169"/>
            <p:cNvSpPr/>
            <p:nvPr/>
          </p:nvSpPr>
          <p:spPr>
            <a:xfrm>
              <a:off x="4341909" y="3850063"/>
              <a:ext cx="105846" cy="101855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no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700" b="1" i="0" u="none" strike="noStrike" cap="none" spc="0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uFillTx/>
                  <a:latin typeface="Source Sans Pro" panose="020B0503030403020204" pitchFamily="34" charset="0"/>
                  <a:ea typeface="Source Sans Pro" panose="020B0503030403020204" pitchFamily="34" charset="0"/>
                  <a:sym typeface="Helvetica Light"/>
                </a:rPr>
                <a:t>D</a:t>
              </a:r>
              <a:endParaRPr kumimoji="0" lang="en-US" sz="700" b="1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Source Sans Pro" panose="020B0503030403020204" pitchFamily="34" charset="0"/>
                <a:ea typeface="Source Sans Pro" panose="020B0503030403020204" pitchFamily="34" charset="0"/>
                <a:sym typeface="Helvetica Light"/>
              </a:endParaRPr>
            </a:p>
          </p:txBody>
        </p:sp>
        <p:sp>
          <p:nvSpPr>
            <p:cNvPr id="171" name="Rectangle 170"/>
            <p:cNvSpPr/>
            <p:nvPr/>
          </p:nvSpPr>
          <p:spPr>
            <a:xfrm>
              <a:off x="4470424" y="3850063"/>
              <a:ext cx="105846" cy="101855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no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700" b="1" i="0" u="none" strike="noStrike" cap="none" spc="0" normalizeH="0" baseline="0" dirty="0" smtClean="0">
                  <a:ln>
                    <a:noFill/>
                  </a:ln>
                  <a:solidFill>
                    <a:srgbClr val="C00000"/>
                  </a:solidFill>
                  <a:effectLst/>
                  <a:uFillTx/>
                  <a:latin typeface="Source Sans Pro" panose="020B0503030403020204" pitchFamily="34" charset="0"/>
                  <a:ea typeface="Source Sans Pro" panose="020B0503030403020204" pitchFamily="34" charset="0"/>
                  <a:sym typeface="Helvetica Light"/>
                </a:rPr>
                <a:t>E</a:t>
              </a:r>
              <a:endParaRPr kumimoji="0" lang="en-US" sz="700" b="1" i="0" u="none" strike="noStrike" cap="none" spc="0" normalizeH="0" baseline="0" dirty="0">
                <a:ln>
                  <a:noFill/>
                </a:ln>
                <a:solidFill>
                  <a:srgbClr val="C00000"/>
                </a:solidFill>
                <a:effectLst/>
                <a:uFillTx/>
                <a:latin typeface="Source Sans Pro" panose="020B0503030403020204" pitchFamily="34" charset="0"/>
                <a:ea typeface="Source Sans Pro" panose="020B0503030403020204" pitchFamily="34" charset="0"/>
                <a:sym typeface="Helvetica Light"/>
              </a:endParaRPr>
            </a:p>
          </p:txBody>
        </p:sp>
        <p:sp>
          <p:nvSpPr>
            <p:cNvPr id="172" name="Rectangle 171"/>
            <p:cNvSpPr/>
            <p:nvPr/>
          </p:nvSpPr>
          <p:spPr>
            <a:xfrm>
              <a:off x="3956363" y="3969893"/>
              <a:ext cx="105846" cy="101855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no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700" b="1" i="0" u="none" strike="noStrike" cap="none" spc="0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uFillTx/>
                  <a:latin typeface="Source Sans Pro" panose="020B0503030403020204" pitchFamily="34" charset="0"/>
                  <a:ea typeface="Source Sans Pro" panose="020B0503030403020204" pitchFamily="34" charset="0"/>
                  <a:sym typeface="Helvetica Light"/>
                </a:rPr>
                <a:t>A</a:t>
              </a:r>
              <a:endParaRPr kumimoji="0" lang="en-US" sz="700" b="1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Source Sans Pro" panose="020B0503030403020204" pitchFamily="34" charset="0"/>
                <a:ea typeface="Source Sans Pro" panose="020B0503030403020204" pitchFamily="34" charset="0"/>
                <a:sym typeface="Helvetica Light"/>
              </a:endParaRPr>
            </a:p>
          </p:txBody>
        </p:sp>
        <p:sp>
          <p:nvSpPr>
            <p:cNvPr id="173" name="Rectangle 172"/>
            <p:cNvSpPr/>
            <p:nvPr/>
          </p:nvSpPr>
          <p:spPr>
            <a:xfrm>
              <a:off x="4084878" y="3969893"/>
              <a:ext cx="105846" cy="101855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no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700" b="1" i="0" u="none" strike="noStrike" cap="none" spc="0" normalizeH="0" baseline="0" dirty="0" smtClean="0">
                  <a:ln>
                    <a:noFill/>
                  </a:ln>
                  <a:solidFill>
                    <a:srgbClr val="C00000"/>
                  </a:solidFill>
                  <a:effectLst/>
                  <a:uFillTx/>
                  <a:latin typeface="Source Sans Pro" panose="020B0503030403020204" pitchFamily="34" charset="0"/>
                  <a:ea typeface="Source Sans Pro" panose="020B0503030403020204" pitchFamily="34" charset="0"/>
                  <a:sym typeface="Helvetica Light"/>
                </a:rPr>
                <a:t>B</a:t>
              </a:r>
              <a:endParaRPr kumimoji="0" lang="en-US" sz="700" b="1" i="0" u="none" strike="noStrike" cap="none" spc="0" normalizeH="0" baseline="0" dirty="0">
                <a:ln>
                  <a:noFill/>
                </a:ln>
                <a:solidFill>
                  <a:srgbClr val="C00000"/>
                </a:solidFill>
                <a:effectLst/>
                <a:uFillTx/>
                <a:latin typeface="Source Sans Pro" panose="020B0503030403020204" pitchFamily="34" charset="0"/>
                <a:ea typeface="Source Sans Pro" panose="020B0503030403020204" pitchFamily="34" charset="0"/>
                <a:sym typeface="Helvetica Light"/>
              </a:endParaRPr>
            </a:p>
          </p:txBody>
        </p:sp>
        <p:sp>
          <p:nvSpPr>
            <p:cNvPr id="174" name="Rectangle 173"/>
            <p:cNvSpPr/>
            <p:nvPr/>
          </p:nvSpPr>
          <p:spPr>
            <a:xfrm>
              <a:off x="4213394" y="3969893"/>
              <a:ext cx="105846" cy="101855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no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700" b="1" i="0" u="none" strike="noStrike" cap="none" spc="0" normalizeH="0" baseline="0" dirty="0" smtClean="0">
                  <a:ln>
                    <a:noFill/>
                  </a:ln>
                  <a:solidFill>
                    <a:srgbClr val="C00000"/>
                  </a:solidFill>
                  <a:effectLst/>
                  <a:uFillTx/>
                  <a:latin typeface="Source Sans Pro" panose="020B0503030403020204" pitchFamily="34" charset="0"/>
                  <a:ea typeface="Source Sans Pro" panose="020B0503030403020204" pitchFamily="34" charset="0"/>
                  <a:sym typeface="Helvetica Light"/>
                </a:rPr>
                <a:t>C</a:t>
              </a:r>
              <a:endParaRPr kumimoji="0" lang="en-US" sz="700" b="1" i="0" u="none" strike="noStrike" cap="none" spc="0" normalizeH="0" baseline="0" dirty="0">
                <a:ln>
                  <a:noFill/>
                </a:ln>
                <a:solidFill>
                  <a:srgbClr val="C00000"/>
                </a:solidFill>
                <a:effectLst/>
                <a:uFillTx/>
                <a:latin typeface="Source Sans Pro" panose="020B0503030403020204" pitchFamily="34" charset="0"/>
                <a:ea typeface="Source Sans Pro" panose="020B0503030403020204" pitchFamily="34" charset="0"/>
                <a:sym typeface="Helvetica Light"/>
              </a:endParaRPr>
            </a:p>
          </p:txBody>
        </p:sp>
        <p:sp>
          <p:nvSpPr>
            <p:cNvPr id="175" name="Rectangle 174"/>
            <p:cNvSpPr/>
            <p:nvPr/>
          </p:nvSpPr>
          <p:spPr>
            <a:xfrm>
              <a:off x="4341909" y="3969893"/>
              <a:ext cx="105846" cy="101855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no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700" b="1" i="0" u="none" strike="noStrike" cap="none" spc="0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uFillTx/>
                  <a:latin typeface="Source Sans Pro" panose="020B0503030403020204" pitchFamily="34" charset="0"/>
                  <a:ea typeface="Source Sans Pro" panose="020B0503030403020204" pitchFamily="34" charset="0"/>
                  <a:sym typeface="Helvetica Light"/>
                </a:rPr>
                <a:t>D</a:t>
              </a:r>
              <a:endParaRPr kumimoji="0" lang="en-US" sz="700" b="1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Source Sans Pro" panose="020B0503030403020204" pitchFamily="34" charset="0"/>
                <a:ea typeface="Source Sans Pro" panose="020B0503030403020204" pitchFamily="34" charset="0"/>
                <a:sym typeface="Helvetica Light"/>
              </a:endParaRPr>
            </a:p>
          </p:txBody>
        </p:sp>
        <p:sp>
          <p:nvSpPr>
            <p:cNvPr id="176" name="Rectangle 175"/>
            <p:cNvSpPr/>
            <p:nvPr/>
          </p:nvSpPr>
          <p:spPr>
            <a:xfrm>
              <a:off x="4470424" y="3969893"/>
              <a:ext cx="105846" cy="101855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no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700" b="1" i="0" u="none" strike="noStrike" cap="none" spc="0" normalizeH="0" baseline="0" dirty="0" smtClean="0">
                  <a:ln>
                    <a:noFill/>
                  </a:ln>
                  <a:solidFill>
                    <a:srgbClr val="C00000"/>
                  </a:solidFill>
                  <a:effectLst/>
                  <a:uFillTx/>
                  <a:latin typeface="Source Sans Pro" panose="020B0503030403020204" pitchFamily="34" charset="0"/>
                  <a:ea typeface="Source Sans Pro" panose="020B0503030403020204" pitchFamily="34" charset="0"/>
                  <a:sym typeface="Helvetica Light"/>
                </a:rPr>
                <a:t>E</a:t>
              </a:r>
              <a:endParaRPr kumimoji="0" lang="en-US" sz="700" b="1" i="0" u="none" strike="noStrike" cap="none" spc="0" normalizeH="0" baseline="0" dirty="0">
                <a:ln>
                  <a:noFill/>
                </a:ln>
                <a:solidFill>
                  <a:srgbClr val="C00000"/>
                </a:solidFill>
                <a:effectLst/>
                <a:uFillTx/>
                <a:latin typeface="Source Sans Pro" panose="020B0503030403020204" pitchFamily="34" charset="0"/>
                <a:ea typeface="Source Sans Pro" panose="020B0503030403020204" pitchFamily="34" charset="0"/>
                <a:sym typeface="Helvetica Light"/>
              </a:endParaRPr>
            </a:p>
          </p:txBody>
        </p:sp>
        <p:sp>
          <p:nvSpPr>
            <p:cNvPr id="177" name="Rectangle 176"/>
            <p:cNvSpPr/>
            <p:nvPr/>
          </p:nvSpPr>
          <p:spPr>
            <a:xfrm>
              <a:off x="3956363" y="4089723"/>
              <a:ext cx="105846" cy="101855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no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700" b="1" i="0" u="none" strike="noStrike" cap="none" spc="0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uFillTx/>
                  <a:latin typeface="Source Sans Pro" panose="020B0503030403020204" pitchFamily="34" charset="0"/>
                  <a:ea typeface="Source Sans Pro" panose="020B0503030403020204" pitchFamily="34" charset="0"/>
                  <a:sym typeface="Helvetica Light"/>
                </a:rPr>
                <a:t>A</a:t>
              </a:r>
              <a:endParaRPr kumimoji="0" lang="en-US" sz="700" b="1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Source Sans Pro" panose="020B0503030403020204" pitchFamily="34" charset="0"/>
                <a:ea typeface="Source Sans Pro" panose="020B0503030403020204" pitchFamily="34" charset="0"/>
                <a:sym typeface="Helvetica Light"/>
              </a:endParaRPr>
            </a:p>
          </p:txBody>
        </p:sp>
        <p:sp>
          <p:nvSpPr>
            <p:cNvPr id="178" name="Rectangle 177"/>
            <p:cNvSpPr/>
            <p:nvPr/>
          </p:nvSpPr>
          <p:spPr>
            <a:xfrm>
              <a:off x="4084878" y="4089723"/>
              <a:ext cx="105846" cy="101855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no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700" b="1" i="0" u="none" strike="noStrike" cap="none" spc="0" normalizeH="0" baseline="0" dirty="0" smtClean="0">
                  <a:ln>
                    <a:noFill/>
                  </a:ln>
                  <a:solidFill>
                    <a:srgbClr val="C00000"/>
                  </a:solidFill>
                  <a:effectLst/>
                  <a:uFillTx/>
                  <a:latin typeface="Source Sans Pro" panose="020B0503030403020204" pitchFamily="34" charset="0"/>
                  <a:ea typeface="Source Sans Pro" panose="020B0503030403020204" pitchFamily="34" charset="0"/>
                  <a:sym typeface="Helvetica Light"/>
                </a:rPr>
                <a:t>B</a:t>
              </a:r>
              <a:endParaRPr kumimoji="0" lang="en-US" sz="700" b="1" i="0" u="none" strike="noStrike" cap="none" spc="0" normalizeH="0" baseline="0" dirty="0">
                <a:ln>
                  <a:noFill/>
                </a:ln>
                <a:solidFill>
                  <a:srgbClr val="C00000"/>
                </a:solidFill>
                <a:effectLst/>
                <a:uFillTx/>
                <a:latin typeface="Source Sans Pro" panose="020B0503030403020204" pitchFamily="34" charset="0"/>
                <a:ea typeface="Source Sans Pro" panose="020B0503030403020204" pitchFamily="34" charset="0"/>
                <a:sym typeface="Helvetica Light"/>
              </a:endParaRPr>
            </a:p>
          </p:txBody>
        </p:sp>
        <p:sp>
          <p:nvSpPr>
            <p:cNvPr id="179" name="Rectangle 178"/>
            <p:cNvSpPr/>
            <p:nvPr/>
          </p:nvSpPr>
          <p:spPr>
            <a:xfrm>
              <a:off x="4213394" y="4089723"/>
              <a:ext cx="105846" cy="101855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no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700" b="1" i="0" u="none" strike="noStrike" cap="none" spc="0" normalizeH="0" baseline="0" dirty="0" smtClean="0">
                  <a:ln>
                    <a:noFill/>
                  </a:ln>
                  <a:solidFill>
                    <a:srgbClr val="C00000"/>
                  </a:solidFill>
                  <a:effectLst/>
                  <a:uFillTx/>
                  <a:latin typeface="Source Sans Pro" panose="020B0503030403020204" pitchFamily="34" charset="0"/>
                  <a:ea typeface="Source Sans Pro" panose="020B0503030403020204" pitchFamily="34" charset="0"/>
                  <a:sym typeface="Helvetica Light"/>
                </a:rPr>
                <a:t>C</a:t>
              </a:r>
              <a:endParaRPr kumimoji="0" lang="en-US" sz="700" b="1" i="0" u="none" strike="noStrike" cap="none" spc="0" normalizeH="0" baseline="0" dirty="0">
                <a:ln>
                  <a:noFill/>
                </a:ln>
                <a:solidFill>
                  <a:srgbClr val="C00000"/>
                </a:solidFill>
                <a:effectLst/>
                <a:uFillTx/>
                <a:latin typeface="Source Sans Pro" panose="020B0503030403020204" pitchFamily="34" charset="0"/>
                <a:ea typeface="Source Sans Pro" panose="020B0503030403020204" pitchFamily="34" charset="0"/>
                <a:sym typeface="Helvetica Light"/>
              </a:endParaRPr>
            </a:p>
          </p:txBody>
        </p:sp>
        <p:sp>
          <p:nvSpPr>
            <p:cNvPr id="180" name="Rectangle 179"/>
            <p:cNvSpPr/>
            <p:nvPr/>
          </p:nvSpPr>
          <p:spPr>
            <a:xfrm>
              <a:off x="4341909" y="4089723"/>
              <a:ext cx="105846" cy="101855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no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700" b="1" i="0" u="none" strike="noStrike" cap="none" spc="0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uFillTx/>
                  <a:latin typeface="Source Sans Pro" panose="020B0503030403020204" pitchFamily="34" charset="0"/>
                  <a:ea typeface="Source Sans Pro" panose="020B0503030403020204" pitchFamily="34" charset="0"/>
                  <a:sym typeface="Helvetica Light"/>
                </a:rPr>
                <a:t>D</a:t>
              </a:r>
              <a:endParaRPr kumimoji="0" lang="en-US" sz="700" b="1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Source Sans Pro" panose="020B0503030403020204" pitchFamily="34" charset="0"/>
                <a:ea typeface="Source Sans Pro" panose="020B0503030403020204" pitchFamily="34" charset="0"/>
                <a:sym typeface="Helvetica Light"/>
              </a:endParaRPr>
            </a:p>
          </p:txBody>
        </p:sp>
        <p:sp>
          <p:nvSpPr>
            <p:cNvPr id="181" name="Rectangle 180"/>
            <p:cNvSpPr/>
            <p:nvPr/>
          </p:nvSpPr>
          <p:spPr>
            <a:xfrm>
              <a:off x="4470424" y="4089723"/>
              <a:ext cx="105846" cy="101855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no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700" b="1" i="0" u="none" strike="noStrike" cap="none" spc="0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uFillTx/>
                  <a:latin typeface="Source Sans Pro" panose="020B0503030403020204" pitchFamily="34" charset="0"/>
                  <a:ea typeface="Source Sans Pro" panose="020B0503030403020204" pitchFamily="34" charset="0"/>
                  <a:sym typeface="Helvetica Light"/>
                </a:rPr>
                <a:t>E</a:t>
              </a:r>
              <a:endParaRPr kumimoji="0" lang="en-US" sz="700" b="1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Source Sans Pro" panose="020B0503030403020204" pitchFamily="34" charset="0"/>
                <a:ea typeface="Source Sans Pro" panose="020B0503030403020204" pitchFamily="34" charset="0"/>
                <a:sym typeface="Helvetica Light"/>
              </a:endParaRPr>
            </a:p>
          </p:txBody>
        </p:sp>
      </p:grpSp>
      <p:grpSp>
        <p:nvGrpSpPr>
          <p:cNvPr id="52" name="Group 51"/>
          <p:cNvGrpSpPr/>
          <p:nvPr/>
        </p:nvGrpSpPr>
        <p:grpSpPr>
          <a:xfrm>
            <a:off x="7333510" y="1403210"/>
            <a:ext cx="574304" cy="308565"/>
            <a:chOff x="7348438" y="1059849"/>
            <a:chExt cx="894760" cy="462035"/>
          </a:xfrm>
        </p:grpSpPr>
        <p:cxnSp>
          <p:nvCxnSpPr>
            <p:cNvPr id="30" name="Straight Connector 29"/>
            <p:cNvCxnSpPr/>
            <p:nvPr/>
          </p:nvCxnSpPr>
          <p:spPr>
            <a:xfrm>
              <a:off x="7348438" y="1089346"/>
              <a:ext cx="113521" cy="22698"/>
            </a:xfrm>
            <a:prstGeom prst="line">
              <a:avLst/>
            </a:prstGeom>
            <a:noFill/>
            <a:ln w="25400" cap="flat">
              <a:solidFill>
                <a:srgbClr val="000000"/>
              </a:solidFill>
              <a:prstDash val="solid"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130" name="Straight Connector 129"/>
            <p:cNvCxnSpPr/>
            <p:nvPr/>
          </p:nvCxnSpPr>
          <p:spPr>
            <a:xfrm>
              <a:off x="7458075" y="1107281"/>
              <a:ext cx="97158" cy="68509"/>
            </a:xfrm>
            <a:prstGeom prst="line">
              <a:avLst/>
            </a:prstGeom>
            <a:noFill/>
            <a:ln w="25400" cap="flat">
              <a:solidFill>
                <a:srgbClr val="000000"/>
              </a:solidFill>
              <a:prstDash val="solid"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135" name="Straight Connector 134"/>
            <p:cNvCxnSpPr/>
            <p:nvPr/>
          </p:nvCxnSpPr>
          <p:spPr>
            <a:xfrm>
              <a:off x="7553325" y="1169194"/>
              <a:ext cx="103969" cy="202671"/>
            </a:xfrm>
            <a:prstGeom prst="line">
              <a:avLst/>
            </a:prstGeom>
            <a:noFill/>
            <a:ln w="25400" cap="flat">
              <a:solidFill>
                <a:srgbClr val="000000"/>
              </a:solidFill>
              <a:prstDash val="solid"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136" name="Straight Connector 135"/>
            <p:cNvCxnSpPr/>
            <p:nvPr/>
          </p:nvCxnSpPr>
          <p:spPr>
            <a:xfrm>
              <a:off x="7654913" y="1369484"/>
              <a:ext cx="152400" cy="152400"/>
            </a:xfrm>
            <a:prstGeom prst="line">
              <a:avLst/>
            </a:prstGeom>
            <a:noFill/>
            <a:ln w="25400" cap="flat">
              <a:solidFill>
                <a:srgbClr val="000000"/>
              </a:solidFill>
              <a:prstDash val="solid"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137" name="Straight Connector 136"/>
            <p:cNvCxnSpPr/>
            <p:nvPr/>
          </p:nvCxnSpPr>
          <p:spPr>
            <a:xfrm flipV="1">
              <a:off x="7800169" y="1459443"/>
              <a:ext cx="122107" cy="57678"/>
            </a:xfrm>
            <a:prstGeom prst="line">
              <a:avLst/>
            </a:prstGeom>
            <a:noFill/>
            <a:ln w="25400" cap="flat">
              <a:solidFill>
                <a:srgbClr val="000000"/>
              </a:solidFill>
              <a:prstDash val="solid"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143" name="Straight Connector 142"/>
            <p:cNvCxnSpPr/>
            <p:nvPr/>
          </p:nvCxnSpPr>
          <p:spPr>
            <a:xfrm flipV="1">
              <a:off x="7917285" y="1361797"/>
              <a:ext cx="94482" cy="101736"/>
            </a:xfrm>
            <a:prstGeom prst="line">
              <a:avLst/>
            </a:prstGeom>
            <a:noFill/>
            <a:ln w="25400" cap="flat">
              <a:solidFill>
                <a:srgbClr val="000000"/>
              </a:solidFill>
              <a:prstDash val="solid"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144" name="Straight Connector 143"/>
            <p:cNvCxnSpPr/>
            <p:nvPr/>
          </p:nvCxnSpPr>
          <p:spPr>
            <a:xfrm flipV="1">
              <a:off x="8009474" y="1240249"/>
              <a:ext cx="71336" cy="127417"/>
            </a:xfrm>
            <a:prstGeom prst="line">
              <a:avLst/>
            </a:prstGeom>
            <a:noFill/>
            <a:ln w="25400" cap="flat">
              <a:solidFill>
                <a:srgbClr val="000000"/>
              </a:solidFill>
              <a:prstDash val="solid"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145" name="Straight Connector 144"/>
            <p:cNvCxnSpPr/>
            <p:nvPr/>
          </p:nvCxnSpPr>
          <p:spPr>
            <a:xfrm flipV="1">
              <a:off x="8077919" y="1114042"/>
              <a:ext cx="89131" cy="130447"/>
            </a:xfrm>
            <a:prstGeom prst="line">
              <a:avLst/>
            </a:prstGeom>
            <a:noFill/>
            <a:ln w="25400" cap="flat">
              <a:solidFill>
                <a:srgbClr val="000000"/>
              </a:solidFill>
              <a:prstDash val="solid"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146" name="Straight Connector 145"/>
            <p:cNvCxnSpPr/>
            <p:nvPr/>
          </p:nvCxnSpPr>
          <p:spPr>
            <a:xfrm flipV="1">
              <a:off x="8164669" y="1059849"/>
              <a:ext cx="78529" cy="56574"/>
            </a:xfrm>
            <a:prstGeom prst="line">
              <a:avLst/>
            </a:prstGeom>
            <a:noFill/>
            <a:ln w="25400" cap="flat">
              <a:solidFill>
                <a:srgbClr val="000000"/>
              </a:solidFill>
              <a:prstDash val="solid"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</p:grpSp>
      <p:grpSp>
        <p:nvGrpSpPr>
          <p:cNvPr id="66" name="Group 65"/>
          <p:cNvGrpSpPr/>
          <p:nvPr/>
        </p:nvGrpSpPr>
        <p:grpSpPr>
          <a:xfrm>
            <a:off x="7364191" y="1761683"/>
            <a:ext cx="583482" cy="442946"/>
            <a:chOff x="7379119" y="1676897"/>
            <a:chExt cx="781456" cy="644885"/>
          </a:xfrm>
        </p:grpSpPr>
        <p:cxnSp>
          <p:nvCxnSpPr>
            <p:cNvPr id="22" name="Straight Connector 21"/>
            <p:cNvCxnSpPr/>
            <p:nvPr/>
          </p:nvCxnSpPr>
          <p:spPr>
            <a:xfrm flipV="1">
              <a:off x="7379119" y="1681096"/>
              <a:ext cx="781456" cy="640686"/>
            </a:xfrm>
            <a:prstGeom prst="line">
              <a:avLst/>
            </a:prstGeom>
            <a:noFill/>
            <a:ln w="25400" cap="flat">
              <a:solidFill>
                <a:srgbClr val="000000"/>
              </a:solidFill>
              <a:prstDash val="sysDash"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grpSp>
          <p:nvGrpSpPr>
            <p:cNvPr id="65" name="Group 64"/>
            <p:cNvGrpSpPr/>
            <p:nvPr/>
          </p:nvGrpSpPr>
          <p:grpSpPr>
            <a:xfrm>
              <a:off x="7388086" y="1676897"/>
              <a:ext cx="772489" cy="644885"/>
              <a:chOff x="7388086" y="1676897"/>
              <a:chExt cx="772489" cy="644885"/>
            </a:xfrm>
          </p:grpSpPr>
          <p:cxnSp>
            <p:nvCxnSpPr>
              <p:cNvPr id="54" name="Straight Connector 53"/>
              <p:cNvCxnSpPr/>
              <p:nvPr/>
            </p:nvCxnSpPr>
            <p:spPr>
              <a:xfrm flipV="1">
                <a:off x="7388086" y="2219325"/>
                <a:ext cx="61600" cy="102457"/>
              </a:xfrm>
              <a:prstGeom prst="line">
                <a:avLst/>
              </a:prstGeom>
              <a:noFill/>
              <a:ln w="25400" cap="flat">
                <a:solidFill>
                  <a:srgbClr val="000000"/>
                </a:solidFill>
                <a:prstDash val="solid"/>
                <a:miter lim="400000"/>
              </a:ln>
              <a:effectLst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cxnSp>
            <p:nvCxnSpPr>
              <p:cNvPr id="150" name="Straight Connector 149"/>
              <p:cNvCxnSpPr/>
              <p:nvPr/>
            </p:nvCxnSpPr>
            <p:spPr>
              <a:xfrm flipV="1">
                <a:off x="7452067" y="2049475"/>
                <a:ext cx="39377" cy="171686"/>
              </a:xfrm>
              <a:prstGeom prst="line">
                <a:avLst/>
              </a:prstGeom>
              <a:noFill/>
              <a:ln w="25400" cap="flat">
                <a:solidFill>
                  <a:srgbClr val="000000"/>
                </a:solidFill>
                <a:prstDash val="solid"/>
                <a:miter lim="400000"/>
              </a:ln>
              <a:effectLst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cxnSp>
            <p:nvCxnSpPr>
              <p:cNvPr id="153" name="Straight Connector 152"/>
              <p:cNvCxnSpPr/>
              <p:nvPr/>
            </p:nvCxnSpPr>
            <p:spPr>
              <a:xfrm flipV="1">
                <a:off x="7488464" y="1868542"/>
                <a:ext cx="66769" cy="197166"/>
              </a:xfrm>
              <a:prstGeom prst="line">
                <a:avLst/>
              </a:prstGeom>
              <a:noFill/>
              <a:ln w="25400" cap="flat">
                <a:solidFill>
                  <a:srgbClr val="000000"/>
                </a:solidFill>
                <a:prstDash val="solid"/>
                <a:miter lim="400000"/>
              </a:ln>
              <a:effectLst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cxnSp>
            <p:nvCxnSpPr>
              <p:cNvPr id="155" name="Straight Connector 154"/>
              <p:cNvCxnSpPr/>
              <p:nvPr/>
            </p:nvCxnSpPr>
            <p:spPr>
              <a:xfrm flipV="1">
                <a:off x="7552852" y="1765116"/>
                <a:ext cx="122740" cy="108188"/>
              </a:xfrm>
              <a:prstGeom prst="line">
                <a:avLst/>
              </a:prstGeom>
              <a:noFill/>
              <a:ln w="25400" cap="flat">
                <a:solidFill>
                  <a:srgbClr val="000000"/>
                </a:solidFill>
                <a:prstDash val="solid"/>
                <a:miter lim="400000"/>
              </a:ln>
              <a:effectLst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cxnSp>
            <p:nvCxnSpPr>
              <p:cNvPr id="182" name="Straight Connector 181"/>
              <p:cNvCxnSpPr/>
              <p:nvPr/>
            </p:nvCxnSpPr>
            <p:spPr>
              <a:xfrm flipV="1">
                <a:off x="7669942" y="1734148"/>
                <a:ext cx="200259" cy="34635"/>
              </a:xfrm>
              <a:prstGeom prst="line">
                <a:avLst/>
              </a:prstGeom>
              <a:noFill/>
              <a:ln w="25400" cap="flat">
                <a:solidFill>
                  <a:srgbClr val="000000"/>
                </a:solidFill>
                <a:prstDash val="solid"/>
                <a:miter lim="400000"/>
              </a:ln>
              <a:effectLst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cxnSp>
            <p:nvCxnSpPr>
              <p:cNvPr id="183" name="Straight Connector 182"/>
              <p:cNvCxnSpPr/>
              <p:nvPr/>
            </p:nvCxnSpPr>
            <p:spPr>
              <a:xfrm flipV="1">
                <a:off x="7861142" y="1686234"/>
                <a:ext cx="143184" cy="47914"/>
              </a:xfrm>
              <a:prstGeom prst="line">
                <a:avLst/>
              </a:prstGeom>
              <a:noFill/>
              <a:ln w="25400" cap="flat">
                <a:solidFill>
                  <a:srgbClr val="000000"/>
                </a:solidFill>
                <a:prstDash val="solid"/>
                <a:miter lim="400000"/>
              </a:ln>
              <a:effectLst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cxnSp>
            <p:nvCxnSpPr>
              <p:cNvPr id="184" name="Straight Connector 183"/>
              <p:cNvCxnSpPr/>
              <p:nvPr/>
            </p:nvCxnSpPr>
            <p:spPr>
              <a:xfrm flipV="1">
                <a:off x="8000561" y="1676897"/>
                <a:ext cx="160014" cy="10539"/>
              </a:xfrm>
              <a:prstGeom prst="line">
                <a:avLst/>
              </a:prstGeom>
              <a:noFill/>
              <a:ln w="25400" cap="flat">
                <a:solidFill>
                  <a:srgbClr val="000000"/>
                </a:solidFill>
                <a:prstDash val="solid"/>
                <a:miter lim="400000"/>
              </a:ln>
              <a:effectLst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</p:grpSp>
      </p:grpSp>
      <p:grpSp>
        <p:nvGrpSpPr>
          <p:cNvPr id="70" name="Group 69"/>
          <p:cNvGrpSpPr/>
          <p:nvPr/>
        </p:nvGrpSpPr>
        <p:grpSpPr>
          <a:xfrm>
            <a:off x="7343167" y="2532873"/>
            <a:ext cx="577361" cy="311325"/>
            <a:chOff x="7405688" y="2818289"/>
            <a:chExt cx="754887" cy="407051"/>
          </a:xfrm>
        </p:grpSpPr>
        <p:cxnSp>
          <p:nvCxnSpPr>
            <p:cNvPr id="68" name="Straight Connector 67"/>
            <p:cNvCxnSpPr/>
            <p:nvPr/>
          </p:nvCxnSpPr>
          <p:spPr>
            <a:xfrm flipV="1">
              <a:off x="7405688" y="2855119"/>
              <a:ext cx="754887" cy="337492"/>
            </a:xfrm>
            <a:prstGeom prst="line">
              <a:avLst/>
            </a:prstGeom>
            <a:noFill/>
            <a:ln w="25400" cap="flat">
              <a:solidFill>
                <a:srgbClr val="000000"/>
              </a:solidFill>
              <a:prstDash val="solid"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sp>
          <p:nvSpPr>
            <p:cNvPr id="186" name="Oval 185"/>
            <p:cNvSpPr/>
            <p:nvPr/>
          </p:nvSpPr>
          <p:spPr>
            <a:xfrm>
              <a:off x="7454375" y="3067986"/>
              <a:ext cx="61600" cy="580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187" name="Oval 186"/>
            <p:cNvSpPr/>
            <p:nvPr/>
          </p:nvSpPr>
          <p:spPr>
            <a:xfrm>
              <a:off x="7563887" y="3167321"/>
              <a:ext cx="61600" cy="580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188" name="Oval 187"/>
            <p:cNvSpPr/>
            <p:nvPr/>
          </p:nvSpPr>
          <p:spPr>
            <a:xfrm>
              <a:off x="7575480" y="3016317"/>
              <a:ext cx="61600" cy="580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189" name="Oval 188"/>
            <p:cNvSpPr/>
            <p:nvPr/>
          </p:nvSpPr>
          <p:spPr>
            <a:xfrm>
              <a:off x="7643880" y="2864419"/>
              <a:ext cx="61600" cy="580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190" name="Oval 189"/>
            <p:cNvSpPr/>
            <p:nvPr/>
          </p:nvSpPr>
          <p:spPr>
            <a:xfrm>
              <a:off x="7645520" y="3105825"/>
              <a:ext cx="61600" cy="580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191" name="Oval 190"/>
            <p:cNvSpPr/>
            <p:nvPr/>
          </p:nvSpPr>
          <p:spPr>
            <a:xfrm>
              <a:off x="7738989" y="3096587"/>
              <a:ext cx="61600" cy="580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192" name="Oval 191"/>
            <p:cNvSpPr/>
            <p:nvPr/>
          </p:nvSpPr>
          <p:spPr>
            <a:xfrm>
              <a:off x="7770115" y="2932929"/>
              <a:ext cx="61600" cy="580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193" name="Oval 192"/>
            <p:cNvSpPr/>
            <p:nvPr/>
          </p:nvSpPr>
          <p:spPr>
            <a:xfrm>
              <a:off x="7858618" y="2997576"/>
              <a:ext cx="61600" cy="580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194" name="Oval 193"/>
            <p:cNvSpPr/>
            <p:nvPr/>
          </p:nvSpPr>
          <p:spPr>
            <a:xfrm>
              <a:off x="7854443" y="2893428"/>
              <a:ext cx="61600" cy="580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195" name="Oval 194"/>
            <p:cNvSpPr/>
            <p:nvPr/>
          </p:nvSpPr>
          <p:spPr>
            <a:xfrm>
              <a:off x="7990633" y="3119219"/>
              <a:ext cx="61600" cy="580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196" name="Oval 195"/>
            <p:cNvSpPr/>
            <p:nvPr/>
          </p:nvSpPr>
          <p:spPr>
            <a:xfrm>
              <a:off x="7919546" y="2818289"/>
              <a:ext cx="61600" cy="580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197" name="Oval 196"/>
            <p:cNvSpPr/>
            <p:nvPr/>
          </p:nvSpPr>
          <p:spPr>
            <a:xfrm>
              <a:off x="8097011" y="2911323"/>
              <a:ext cx="61600" cy="580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</p:grpSp>
      <p:grpSp>
        <p:nvGrpSpPr>
          <p:cNvPr id="152" name="Group 151"/>
          <p:cNvGrpSpPr/>
          <p:nvPr/>
        </p:nvGrpSpPr>
        <p:grpSpPr>
          <a:xfrm>
            <a:off x="7337426" y="3581851"/>
            <a:ext cx="625175" cy="261465"/>
            <a:chOff x="7414402" y="3517106"/>
            <a:chExt cx="831177" cy="544477"/>
          </a:xfrm>
        </p:grpSpPr>
        <p:cxnSp>
          <p:nvCxnSpPr>
            <p:cNvPr id="72" name="Straight Connector 71"/>
            <p:cNvCxnSpPr/>
            <p:nvPr/>
          </p:nvCxnSpPr>
          <p:spPr>
            <a:xfrm>
              <a:off x="7414402" y="3517106"/>
              <a:ext cx="149485" cy="422217"/>
            </a:xfrm>
            <a:prstGeom prst="line">
              <a:avLst/>
            </a:prstGeom>
            <a:noFill/>
            <a:ln w="25400" cap="flat">
              <a:solidFill>
                <a:srgbClr val="000000"/>
              </a:solidFill>
              <a:prstDash val="solid"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198" name="Straight Connector 197"/>
            <p:cNvCxnSpPr/>
            <p:nvPr/>
          </p:nvCxnSpPr>
          <p:spPr>
            <a:xfrm>
              <a:off x="7557590" y="3933794"/>
              <a:ext cx="153028" cy="68159"/>
            </a:xfrm>
            <a:prstGeom prst="line">
              <a:avLst/>
            </a:prstGeom>
            <a:noFill/>
            <a:ln w="25400" cap="flat">
              <a:solidFill>
                <a:srgbClr val="000000"/>
              </a:solidFill>
              <a:prstDash val="solid"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200" name="Straight Connector 199"/>
            <p:cNvCxnSpPr/>
            <p:nvPr/>
          </p:nvCxnSpPr>
          <p:spPr>
            <a:xfrm>
              <a:off x="7704247" y="3999392"/>
              <a:ext cx="187695" cy="30109"/>
            </a:xfrm>
            <a:prstGeom prst="line">
              <a:avLst/>
            </a:prstGeom>
            <a:noFill/>
            <a:ln w="25400" cap="flat">
              <a:solidFill>
                <a:srgbClr val="000000"/>
              </a:solidFill>
              <a:prstDash val="solid"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201" name="Straight Connector 200"/>
            <p:cNvCxnSpPr/>
            <p:nvPr/>
          </p:nvCxnSpPr>
          <p:spPr>
            <a:xfrm>
              <a:off x="7885243" y="4028259"/>
              <a:ext cx="185078" cy="20259"/>
            </a:xfrm>
            <a:prstGeom prst="line">
              <a:avLst/>
            </a:prstGeom>
            <a:noFill/>
            <a:ln w="25400" cap="flat">
              <a:solidFill>
                <a:srgbClr val="000000"/>
              </a:solidFill>
              <a:prstDash val="solid"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202" name="Straight Connector 201"/>
            <p:cNvCxnSpPr/>
            <p:nvPr/>
          </p:nvCxnSpPr>
          <p:spPr>
            <a:xfrm>
              <a:off x="8064763" y="4050533"/>
              <a:ext cx="180816" cy="11050"/>
            </a:xfrm>
            <a:prstGeom prst="line">
              <a:avLst/>
            </a:prstGeom>
            <a:noFill/>
            <a:ln w="25400" cap="flat">
              <a:solidFill>
                <a:srgbClr val="000000"/>
              </a:solidFill>
              <a:prstDash val="solid"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</p:grpSp>
      <p:grpSp>
        <p:nvGrpSpPr>
          <p:cNvPr id="109" name="Group 108"/>
          <p:cNvGrpSpPr/>
          <p:nvPr/>
        </p:nvGrpSpPr>
        <p:grpSpPr>
          <a:xfrm>
            <a:off x="7322823" y="5677841"/>
            <a:ext cx="584991" cy="352307"/>
            <a:chOff x="7428071" y="5529517"/>
            <a:chExt cx="652739" cy="417368"/>
          </a:xfrm>
        </p:grpSpPr>
        <p:sp>
          <p:nvSpPr>
            <p:cNvPr id="83" name="Oval 82"/>
            <p:cNvSpPr/>
            <p:nvPr/>
          </p:nvSpPr>
          <p:spPr>
            <a:xfrm>
              <a:off x="7510064" y="5631656"/>
              <a:ext cx="45719" cy="45719"/>
            </a:xfrm>
            <a:prstGeom prst="ellipse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84" name="Oval 83"/>
            <p:cNvSpPr/>
            <p:nvPr/>
          </p:nvSpPr>
          <p:spPr>
            <a:xfrm>
              <a:off x="7603866" y="5717381"/>
              <a:ext cx="45719" cy="45719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85" name="Oval 84"/>
            <p:cNvSpPr/>
            <p:nvPr/>
          </p:nvSpPr>
          <p:spPr>
            <a:xfrm>
              <a:off x="7830908" y="5901166"/>
              <a:ext cx="45719" cy="45719"/>
            </a:xfrm>
            <a:prstGeom prst="ellipse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86" name="Oval 85"/>
            <p:cNvSpPr/>
            <p:nvPr/>
          </p:nvSpPr>
          <p:spPr>
            <a:xfrm>
              <a:off x="7679614" y="5889687"/>
              <a:ext cx="45719" cy="45719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87" name="Oval 86"/>
            <p:cNvSpPr/>
            <p:nvPr/>
          </p:nvSpPr>
          <p:spPr>
            <a:xfrm>
              <a:off x="7740247" y="5796818"/>
              <a:ext cx="45719" cy="45719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88" name="Oval 87"/>
            <p:cNvSpPr/>
            <p:nvPr/>
          </p:nvSpPr>
          <p:spPr>
            <a:xfrm>
              <a:off x="7634100" y="5691591"/>
              <a:ext cx="45719" cy="45719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89" name="Oval 88"/>
            <p:cNvSpPr/>
            <p:nvPr/>
          </p:nvSpPr>
          <p:spPr>
            <a:xfrm>
              <a:off x="7797344" y="5657351"/>
              <a:ext cx="45719" cy="45719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90" name="Oval 89"/>
            <p:cNvSpPr/>
            <p:nvPr/>
          </p:nvSpPr>
          <p:spPr>
            <a:xfrm>
              <a:off x="7763284" y="5733539"/>
              <a:ext cx="45719" cy="45719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91" name="Oval 90"/>
            <p:cNvSpPr/>
            <p:nvPr/>
          </p:nvSpPr>
          <p:spPr>
            <a:xfrm>
              <a:off x="7656007" y="5756398"/>
              <a:ext cx="45719" cy="45719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92" name="Oval 91"/>
            <p:cNvSpPr/>
            <p:nvPr/>
          </p:nvSpPr>
          <p:spPr>
            <a:xfrm>
              <a:off x="7603865" y="5862112"/>
              <a:ext cx="45719" cy="45719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93" name="Oval 92"/>
            <p:cNvSpPr/>
            <p:nvPr/>
          </p:nvSpPr>
          <p:spPr>
            <a:xfrm>
              <a:off x="7837632" y="5609735"/>
              <a:ext cx="45719" cy="45719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94" name="Oval 93"/>
            <p:cNvSpPr/>
            <p:nvPr/>
          </p:nvSpPr>
          <p:spPr>
            <a:xfrm>
              <a:off x="8035091" y="5529517"/>
              <a:ext cx="45719" cy="45719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95" name="Oval 94"/>
            <p:cNvSpPr/>
            <p:nvPr/>
          </p:nvSpPr>
          <p:spPr>
            <a:xfrm>
              <a:off x="7689001" y="5531199"/>
              <a:ext cx="45719" cy="45719"/>
            </a:xfrm>
            <a:prstGeom prst="ellipse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96" name="Oval 95"/>
            <p:cNvSpPr/>
            <p:nvPr/>
          </p:nvSpPr>
          <p:spPr>
            <a:xfrm>
              <a:off x="7479810" y="5750400"/>
              <a:ext cx="45719" cy="45719"/>
            </a:xfrm>
            <a:prstGeom prst="ellipse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97" name="Oval 96"/>
            <p:cNvSpPr/>
            <p:nvPr/>
          </p:nvSpPr>
          <p:spPr>
            <a:xfrm>
              <a:off x="7598303" y="5799211"/>
              <a:ext cx="45719" cy="45719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98" name="Oval 97"/>
            <p:cNvSpPr/>
            <p:nvPr/>
          </p:nvSpPr>
          <p:spPr>
            <a:xfrm>
              <a:off x="7745809" y="5843404"/>
              <a:ext cx="45719" cy="45719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99" name="Oval 98"/>
            <p:cNvSpPr/>
            <p:nvPr/>
          </p:nvSpPr>
          <p:spPr>
            <a:xfrm>
              <a:off x="7758574" y="5884971"/>
              <a:ext cx="45719" cy="45719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100" name="Oval 99"/>
            <p:cNvSpPr/>
            <p:nvPr/>
          </p:nvSpPr>
          <p:spPr>
            <a:xfrm>
              <a:off x="7811463" y="5862540"/>
              <a:ext cx="45719" cy="45719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101" name="Oval 100"/>
            <p:cNvSpPr/>
            <p:nvPr/>
          </p:nvSpPr>
          <p:spPr>
            <a:xfrm>
              <a:off x="7773440" y="5752742"/>
              <a:ext cx="45719" cy="45719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102" name="Oval 101"/>
            <p:cNvSpPr/>
            <p:nvPr/>
          </p:nvSpPr>
          <p:spPr>
            <a:xfrm>
              <a:off x="7860491" y="5807641"/>
              <a:ext cx="45719" cy="45719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103" name="Oval 102"/>
            <p:cNvSpPr/>
            <p:nvPr/>
          </p:nvSpPr>
          <p:spPr>
            <a:xfrm>
              <a:off x="7428071" y="5897603"/>
              <a:ext cx="45719" cy="45719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</p:grpSp>
      <p:grpSp>
        <p:nvGrpSpPr>
          <p:cNvPr id="227" name="Group 226"/>
          <p:cNvGrpSpPr/>
          <p:nvPr/>
        </p:nvGrpSpPr>
        <p:grpSpPr>
          <a:xfrm>
            <a:off x="7240558" y="9077758"/>
            <a:ext cx="851270" cy="560870"/>
            <a:chOff x="7240558" y="9165864"/>
            <a:chExt cx="851270" cy="560870"/>
          </a:xfrm>
        </p:grpSpPr>
        <p:cxnSp>
          <p:nvCxnSpPr>
            <p:cNvPr id="156" name="Straight Connector 155"/>
            <p:cNvCxnSpPr/>
            <p:nvPr/>
          </p:nvCxnSpPr>
          <p:spPr>
            <a:xfrm>
              <a:off x="7318375" y="9542206"/>
              <a:ext cx="600651" cy="0"/>
            </a:xfrm>
            <a:prstGeom prst="line">
              <a:avLst/>
            </a:prstGeom>
            <a:ln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57" name="TextBox 156"/>
            <p:cNvSpPr txBox="1"/>
            <p:nvPr/>
          </p:nvSpPr>
          <p:spPr>
            <a:xfrm>
              <a:off x="7240558" y="9524195"/>
              <a:ext cx="185903" cy="202539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Light"/>
                </a:rPr>
                <a:t>0</a:t>
              </a:r>
              <a:endParaRPr kumimoji="0" lang="en-US" sz="6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207" name="TextBox 206"/>
            <p:cNvSpPr txBox="1"/>
            <p:nvPr/>
          </p:nvSpPr>
          <p:spPr>
            <a:xfrm>
              <a:off x="7435730" y="9524195"/>
              <a:ext cx="185903" cy="202539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Light"/>
                </a:rPr>
                <a:t>1</a:t>
              </a:r>
              <a:endParaRPr kumimoji="0" lang="en-US" sz="6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208" name="TextBox 207"/>
            <p:cNvSpPr txBox="1"/>
            <p:nvPr/>
          </p:nvSpPr>
          <p:spPr>
            <a:xfrm>
              <a:off x="7630902" y="9524195"/>
              <a:ext cx="185903" cy="202539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Light"/>
                </a:rPr>
                <a:t>2</a:t>
              </a:r>
              <a:endParaRPr kumimoji="0" lang="en-US" sz="6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209" name="TextBox 208"/>
            <p:cNvSpPr txBox="1"/>
            <p:nvPr/>
          </p:nvSpPr>
          <p:spPr>
            <a:xfrm>
              <a:off x="7826074" y="9524195"/>
              <a:ext cx="185903" cy="202539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Light"/>
                </a:rPr>
                <a:t>3</a:t>
              </a:r>
              <a:endParaRPr kumimoji="0" lang="en-US" sz="6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grpSp>
          <p:nvGrpSpPr>
            <p:cNvPr id="217" name="Group 216"/>
            <p:cNvGrpSpPr/>
            <p:nvPr/>
          </p:nvGrpSpPr>
          <p:grpSpPr>
            <a:xfrm>
              <a:off x="7421641" y="9429751"/>
              <a:ext cx="190703" cy="145256"/>
              <a:chOff x="7299989" y="9351170"/>
              <a:chExt cx="312356" cy="145256"/>
            </a:xfrm>
          </p:grpSpPr>
          <p:cxnSp>
            <p:nvCxnSpPr>
              <p:cNvPr id="211" name="Straight Connector 210"/>
              <p:cNvCxnSpPr/>
              <p:nvPr/>
            </p:nvCxnSpPr>
            <p:spPr>
              <a:xfrm>
                <a:off x="7299989" y="9360694"/>
                <a:ext cx="312356" cy="0"/>
              </a:xfrm>
              <a:prstGeom prst="line">
                <a:avLst/>
              </a:prstGeom>
              <a:ln w="1905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6" name="Straight Connector 215"/>
              <p:cNvCxnSpPr/>
              <p:nvPr/>
            </p:nvCxnSpPr>
            <p:spPr>
              <a:xfrm>
                <a:off x="7607583" y="9351170"/>
                <a:ext cx="0" cy="145256"/>
              </a:xfrm>
              <a:prstGeom prst="line">
                <a:avLst/>
              </a:prstGeom>
              <a:ln w="1905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8" name="Group 217"/>
            <p:cNvGrpSpPr/>
            <p:nvPr/>
          </p:nvGrpSpPr>
          <p:grpSpPr>
            <a:xfrm>
              <a:off x="7416879" y="9258117"/>
              <a:ext cx="307219" cy="319129"/>
              <a:chOff x="7299989" y="9351170"/>
              <a:chExt cx="312356" cy="145256"/>
            </a:xfrm>
          </p:grpSpPr>
          <p:cxnSp>
            <p:nvCxnSpPr>
              <p:cNvPr id="219" name="Straight Connector 218"/>
              <p:cNvCxnSpPr/>
              <p:nvPr/>
            </p:nvCxnSpPr>
            <p:spPr>
              <a:xfrm>
                <a:off x="7299989" y="9355274"/>
                <a:ext cx="312356" cy="0"/>
              </a:xfrm>
              <a:prstGeom prst="line">
                <a:avLst/>
              </a:prstGeom>
              <a:ln w="19050">
                <a:solidFill>
                  <a:srgbClr val="00B0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0" name="Straight Connector 219"/>
              <p:cNvCxnSpPr/>
              <p:nvPr/>
            </p:nvCxnSpPr>
            <p:spPr>
              <a:xfrm>
                <a:off x="7607583" y="9351170"/>
                <a:ext cx="0" cy="145256"/>
              </a:xfrm>
              <a:prstGeom prst="line">
                <a:avLst/>
              </a:prstGeom>
              <a:ln w="19050">
                <a:solidFill>
                  <a:srgbClr val="00B0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1" name="Group 220"/>
            <p:cNvGrpSpPr/>
            <p:nvPr/>
          </p:nvGrpSpPr>
          <p:grpSpPr>
            <a:xfrm flipH="1">
              <a:off x="7813636" y="9429751"/>
              <a:ext cx="149900" cy="145256"/>
              <a:chOff x="7299989" y="9351170"/>
              <a:chExt cx="312356" cy="145256"/>
            </a:xfrm>
          </p:grpSpPr>
          <p:cxnSp>
            <p:nvCxnSpPr>
              <p:cNvPr id="222" name="Straight Connector 221"/>
              <p:cNvCxnSpPr/>
              <p:nvPr/>
            </p:nvCxnSpPr>
            <p:spPr>
              <a:xfrm>
                <a:off x="7299989" y="9360694"/>
                <a:ext cx="312356" cy="0"/>
              </a:xfrm>
              <a:prstGeom prst="line">
                <a:avLst/>
              </a:prstGeom>
              <a:ln w="190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3" name="Straight Connector 222"/>
              <p:cNvCxnSpPr/>
              <p:nvPr/>
            </p:nvCxnSpPr>
            <p:spPr>
              <a:xfrm>
                <a:off x="7607583" y="9351170"/>
                <a:ext cx="0" cy="145256"/>
              </a:xfrm>
              <a:prstGeom prst="line">
                <a:avLst/>
              </a:prstGeom>
              <a:ln w="190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24" name="TextBox 223"/>
            <p:cNvSpPr txBox="1"/>
            <p:nvPr/>
          </p:nvSpPr>
          <p:spPr>
            <a:xfrm>
              <a:off x="7288811" y="9338005"/>
              <a:ext cx="185903" cy="202539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en-US" sz="600" dirty="0">
                  <a:solidFill>
                    <a:srgbClr val="0070C0"/>
                  </a:solidFill>
                </a:rPr>
                <a:t>A</a:t>
              </a:r>
              <a:endParaRPr kumimoji="0" lang="en-US" sz="600" b="0" i="0" u="none" strike="noStrike" cap="none" spc="0" normalizeH="0" baseline="0" dirty="0">
                <a:ln>
                  <a:noFill/>
                </a:ln>
                <a:solidFill>
                  <a:srgbClr val="0070C0"/>
                </a:solidFill>
                <a:effectLst/>
                <a:uFillTx/>
                <a:sym typeface="Helvetica Light"/>
              </a:endParaRPr>
            </a:p>
          </p:txBody>
        </p:sp>
        <p:sp>
          <p:nvSpPr>
            <p:cNvPr id="225" name="TextBox 224"/>
            <p:cNvSpPr txBox="1"/>
            <p:nvPr/>
          </p:nvSpPr>
          <p:spPr>
            <a:xfrm>
              <a:off x="7288811" y="9165864"/>
              <a:ext cx="185903" cy="202539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en-US" sz="600" dirty="0" smtClean="0">
                  <a:solidFill>
                    <a:srgbClr val="00B050"/>
                  </a:solidFill>
                </a:rPr>
                <a:t>B</a:t>
              </a:r>
              <a:endParaRPr kumimoji="0" lang="en-US" sz="600" b="0" i="0" u="none" strike="noStrike" cap="none" spc="0" normalizeH="0" baseline="0" dirty="0">
                <a:ln>
                  <a:noFill/>
                </a:ln>
                <a:solidFill>
                  <a:srgbClr val="00B050"/>
                </a:solidFill>
                <a:effectLst/>
                <a:uFillTx/>
                <a:sym typeface="Helvetica Light"/>
              </a:endParaRPr>
            </a:p>
          </p:txBody>
        </p:sp>
        <p:sp>
          <p:nvSpPr>
            <p:cNvPr id="226" name="TextBox 225"/>
            <p:cNvSpPr txBox="1"/>
            <p:nvPr/>
          </p:nvSpPr>
          <p:spPr>
            <a:xfrm>
              <a:off x="7905925" y="9338005"/>
              <a:ext cx="185903" cy="202539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4570" tIns="54570" rIns="54570" bIns="5457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en-US" sz="600" dirty="0" smtClean="0">
                  <a:solidFill>
                    <a:srgbClr val="FF0000"/>
                  </a:solidFill>
                </a:rPr>
                <a:t>C</a:t>
              </a:r>
              <a:endParaRPr kumimoji="0" lang="en-US" sz="600" b="0" i="0" u="none" strike="noStrike" cap="none" spc="0" normalizeH="0" baseline="0" dirty="0">
                <a:ln>
                  <a:noFill/>
                </a:ln>
                <a:solidFill>
                  <a:srgbClr val="FF0000"/>
                </a:solidFill>
                <a:effectLst/>
                <a:uFillTx/>
                <a:sym typeface="Helvetica Light"/>
              </a:endParaRPr>
            </a:p>
          </p:txBody>
        </p:sp>
      </p:grpSp>
      <p:grpSp>
        <p:nvGrpSpPr>
          <p:cNvPr id="228" name="Group 227"/>
          <p:cNvGrpSpPr/>
          <p:nvPr/>
        </p:nvGrpSpPr>
        <p:grpSpPr>
          <a:xfrm>
            <a:off x="7356144" y="9841358"/>
            <a:ext cx="566671" cy="366031"/>
            <a:chOff x="7362825" y="1393031"/>
            <a:chExt cx="762000" cy="447299"/>
          </a:xfrm>
        </p:grpSpPr>
        <p:cxnSp>
          <p:nvCxnSpPr>
            <p:cNvPr id="229" name="Straight Connector 228"/>
            <p:cNvCxnSpPr/>
            <p:nvPr/>
          </p:nvCxnSpPr>
          <p:spPr>
            <a:xfrm flipV="1">
              <a:off x="7379494" y="1393031"/>
              <a:ext cx="740569" cy="447299"/>
            </a:xfrm>
            <a:prstGeom prst="line">
              <a:avLst/>
            </a:prstGeom>
            <a:noFill/>
            <a:ln w="25400" cap="flat">
              <a:solidFill>
                <a:srgbClr val="000000"/>
              </a:solidFill>
              <a:prstDash val="dash"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230" name="Straight Connector 229"/>
            <p:cNvCxnSpPr/>
            <p:nvPr/>
          </p:nvCxnSpPr>
          <p:spPr>
            <a:xfrm flipV="1">
              <a:off x="7362825" y="1659057"/>
              <a:ext cx="135731" cy="134024"/>
            </a:xfrm>
            <a:prstGeom prst="line">
              <a:avLst/>
            </a:prstGeom>
            <a:ln w="28575"/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231" name="Straight Connector 230"/>
            <p:cNvCxnSpPr/>
            <p:nvPr/>
          </p:nvCxnSpPr>
          <p:spPr>
            <a:xfrm>
              <a:off x="7479506" y="1659057"/>
              <a:ext cx="171450" cy="152400"/>
            </a:xfrm>
            <a:prstGeom prst="line">
              <a:avLst/>
            </a:prstGeom>
            <a:ln w="28575"/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232" name="Straight Connector 231"/>
            <p:cNvCxnSpPr/>
            <p:nvPr/>
          </p:nvCxnSpPr>
          <p:spPr>
            <a:xfrm flipV="1">
              <a:off x="7634288" y="1488281"/>
              <a:ext cx="202406" cy="319088"/>
            </a:xfrm>
            <a:prstGeom prst="line">
              <a:avLst/>
            </a:prstGeom>
            <a:ln w="28575"/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233" name="Straight Connector 232"/>
            <p:cNvCxnSpPr/>
            <p:nvPr/>
          </p:nvCxnSpPr>
          <p:spPr>
            <a:xfrm flipH="1">
              <a:off x="7831932" y="1397793"/>
              <a:ext cx="128587" cy="95250"/>
            </a:xfrm>
            <a:prstGeom prst="line">
              <a:avLst/>
            </a:prstGeom>
            <a:ln w="28575"/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234" name="Straight Connector 233"/>
            <p:cNvCxnSpPr/>
            <p:nvPr/>
          </p:nvCxnSpPr>
          <p:spPr>
            <a:xfrm flipH="1" flipV="1">
              <a:off x="7943850" y="1402555"/>
              <a:ext cx="180975" cy="55880"/>
            </a:xfrm>
            <a:prstGeom prst="line">
              <a:avLst/>
            </a:prstGeom>
            <a:ln w="28575"/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40019188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theme1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53585F"/>
      </a:dk2>
      <a:lt2>
        <a:srgbClr val="DCDEE0"/>
      </a:lt2>
      <a:accent1>
        <a:srgbClr val="0365C0"/>
      </a:accent1>
      <a:accent2>
        <a:srgbClr val="00882B"/>
      </a:accent2>
      <a:accent3>
        <a:srgbClr val="DCBD23"/>
      </a:accent3>
      <a:accent4>
        <a:srgbClr val="DE6A10"/>
      </a:accent4>
      <a:accent5>
        <a:srgbClr val="C82506"/>
      </a:accent5>
      <a:accent6>
        <a:srgbClr val="773F9B"/>
      </a:accent6>
      <a:hlink>
        <a:srgbClr val="0000FF"/>
      </a:hlink>
      <a:folHlink>
        <a:srgbClr val="FF00FF"/>
      </a:folHlink>
    </a:clrScheme>
    <a:fontScheme name="White">
      <a:majorFont>
        <a:latin typeface="Helvetica Light"/>
        <a:ea typeface="Helvetica Light"/>
        <a:cs typeface="Helvetica Light"/>
      </a:majorFont>
      <a:minorFont>
        <a:latin typeface="Helvetica Light"/>
        <a:ea typeface="Helvetica Light"/>
        <a:cs typeface="Helvetica Light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127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blipFill rotWithShape="1">
          <a:blip xmlns:r="http://schemas.openxmlformats.org/officeDocument/2006/relationships" r:embed="rId1"/>
          <a:srcRect/>
          <a:tile tx="0" ty="0" sx="100000" sy="100000" flip="none" algn="tl"/>
        </a:blipFill>
        <a:ln w="12700" cap="flat">
          <a:noFill/>
          <a:miter lim="400000"/>
        </a:ln>
        <a:effectLst>
          <a:outerShdw blurRad="38100" dist="25400" dir="5400000" rotWithShape="0">
            <a:srgbClr val="000000">
              <a:alpha val="50000"/>
            </a:srgbClr>
          </a:outerShdw>
        </a:effectLst>
      </a:spPr>
      <a:bodyPr rot="0" spcFirstLastPara="1" vertOverflow="overflow" horzOverflow="overflow" vert="horz" wrap="square" lIns="54570" tIns="54570" rIns="54570" bIns="54570" numCol="1" spcCol="38100" rtlCol="0" anchor="ctr">
        <a:spAutoFit/>
      </a:bodyPr>
      <a:lstStyle>
        <a:defPPr marL="0" marR="0" indent="0" algn="ctr" defTabSz="5842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6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</a:spPr>
      <a:bodyPr rot="0" spcFirstLastPara="1" vertOverflow="overflow" horzOverflow="overflow" vert="horz" wrap="square" lIns="54570" tIns="54570" rIns="54570" bIns="54570" numCol="1" spcCol="38100" rtlCol="0" anchor="ctr">
        <a:spAutoFit/>
      </a:bodyPr>
      <a:lstStyle>
        <a:defPPr marL="0" marR="0" indent="0" algn="ctr" defTabSz="5842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53585F"/>
      </a:dk2>
      <a:lt2>
        <a:srgbClr val="DCDEE0"/>
      </a:lt2>
      <a:accent1>
        <a:srgbClr val="0365C0"/>
      </a:accent1>
      <a:accent2>
        <a:srgbClr val="00882B"/>
      </a:accent2>
      <a:accent3>
        <a:srgbClr val="DCBD23"/>
      </a:accent3>
      <a:accent4>
        <a:srgbClr val="DE6A10"/>
      </a:accent4>
      <a:accent5>
        <a:srgbClr val="C82506"/>
      </a:accent5>
      <a:accent6>
        <a:srgbClr val="773F9B"/>
      </a:accent6>
      <a:hlink>
        <a:srgbClr val="0000FF"/>
      </a:hlink>
      <a:folHlink>
        <a:srgbClr val="FF00FF"/>
      </a:folHlink>
    </a:clrScheme>
    <a:fontScheme name="White">
      <a:majorFont>
        <a:latin typeface="Helvetica Light"/>
        <a:ea typeface="Helvetica Light"/>
        <a:cs typeface="Helvetica Light"/>
      </a:majorFont>
      <a:minorFont>
        <a:latin typeface="Helvetica Light"/>
        <a:ea typeface="Helvetica Light"/>
        <a:cs typeface="Helvetica Light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127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blipFill rotWithShape="1">
          <a:blip xmlns:r="http://schemas.openxmlformats.org/officeDocument/2006/relationships" r:embed="rId1"/>
          <a:srcRect/>
          <a:tile tx="0" ty="0" sx="100000" sy="100000" flip="none" algn="tl"/>
        </a:blipFill>
        <a:ln w="12700" cap="flat">
          <a:noFill/>
          <a:miter lim="400000"/>
        </a:ln>
        <a:effectLst>
          <a:outerShdw blurRad="38100" dist="25400" dir="5400000" rotWithShape="0">
            <a:srgbClr val="000000">
              <a:alpha val="50000"/>
            </a:srgbClr>
          </a:outerShdw>
        </a:effectLst>
      </a:spPr>
      <a:bodyPr rot="0" spcFirstLastPara="1" vertOverflow="overflow" horzOverflow="overflow" vert="horz" wrap="square" lIns="54570" tIns="54570" rIns="54570" bIns="54570" numCol="1" spcCol="38100" rtlCol="0" anchor="ctr">
        <a:spAutoFit/>
      </a:bodyPr>
      <a:lstStyle>
        <a:defPPr marL="0" marR="0" indent="0" algn="ctr" defTabSz="5842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6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</a:spPr>
      <a:bodyPr rot="0" spcFirstLastPara="1" vertOverflow="overflow" horzOverflow="overflow" vert="horz" wrap="square" lIns="54570" tIns="54570" rIns="54570" bIns="54570" numCol="1" spcCol="38100" rtlCol="0" anchor="ctr">
        <a:spAutoFit/>
      </a:bodyPr>
      <a:lstStyle>
        <a:defPPr marL="0" marR="0" indent="0" algn="ctr" defTabSz="5842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8893</TotalTime>
  <Words>2353</Words>
  <Application>Microsoft Office PowerPoint</Application>
  <PresentationFormat>Custom</PresentationFormat>
  <Paragraphs>495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2" baseType="lpstr">
      <vt:lpstr>Arial</vt:lpstr>
      <vt:lpstr>Avenir Book</vt:lpstr>
      <vt:lpstr>Consolas</vt:lpstr>
      <vt:lpstr>Courier New</vt:lpstr>
      <vt:lpstr>Helvetica Light</vt:lpstr>
      <vt:lpstr>Menlo</vt:lpstr>
      <vt:lpstr>Source Sans Pro</vt:lpstr>
      <vt:lpstr>Source Sans Pro Light</vt:lpstr>
      <vt:lpstr>White</vt:lpstr>
      <vt:lpstr>think-cell Slide</vt:lpstr>
      <vt:lpstr>Machine Learning with R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LR Cheat Sheet</dc:title>
  <dc:creator>Teodora Pandeva</dc:creator>
  <cp:lastModifiedBy>Aaron Cooley</cp:lastModifiedBy>
  <cp:revision>372</cp:revision>
  <cp:lastPrinted>2017-08-16T23:20:12Z</cp:lastPrinted>
  <dcterms:modified xsi:type="dcterms:W3CDTF">2017-12-07T16:27:07Z</dcterms:modified>
</cp:coreProperties>
</file>